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0.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1.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661" r:id="rId5"/>
    <p:sldMasterId id="2147483753" r:id="rId6"/>
    <p:sldMasterId id="2147483737" r:id="rId7"/>
    <p:sldMasterId id="2147483673" r:id="rId8"/>
    <p:sldMasterId id="2147483679" r:id="rId9"/>
    <p:sldMasterId id="2147483685" r:id="rId10"/>
    <p:sldMasterId id="2147483691" r:id="rId11"/>
    <p:sldMasterId id="2147483697" r:id="rId12"/>
    <p:sldMasterId id="2147483703" r:id="rId13"/>
    <p:sldMasterId id="2147483709" r:id="rId14"/>
    <p:sldMasterId id="2147483715" r:id="rId15"/>
    <p:sldMasterId id="2147483721" r:id="rId16"/>
  </p:sldMasterIdLst>
  <p:notesMasterIdLst>
    <p:notesMasterId r:id="rId25"/>
  </p:notesMasterIdLst>
  <p:sldIdLst>
    <p:sldId id="258" r:id="rId17"/>
    <p:sldId id="2146847547" r:id="rId18"/>
    <p:sldId id="2146847548" r:id="rId19"/>
    <p:sldId id="2146847549" r:id="rId20"/>
    <p:sldId id="2146847546" r:id="rId21"/>
    <p:sldId id="2146847552" r:id="rId22"/>
    <p:sldId id="2146847550" r:id="rId23"/>
    <p:sldId id="2146847551" r:id="rId24"/>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Calibri Light" panose="020F0302020204030204" pitchFamily="34" charset="0"/>
      <p:regular r:id="rId30"/>
      <p:italic r:id="rId31"/>
    </p:embeddedFont>
    <p:embeddedFont>
      <p:font typeface="Haffer" panose="020B0604020202020204" charset="0"/>
      <p:regular r:id="rId32"/>
    </p:embeddedFont>
    <p:embeddedFont>
      <p:font typeface="Haffer Light" panose="020B0604020202020204" charset="0"/>
      <p:regular r:id="rId33"/>
    </p:embeddedFont>
  </p:embeddedFont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B5F9"/>
    <a:srgbClr val="DAD8FB"/>
    <a:srgbClr val="E5E3F1"/>
    <a:srgbClr val="F2F1F9"/>
    <a:srgbClr val="C7F4ED"/>
    <a:srgbClr val="022E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051F5B-9B67-4CC4-921E-7DF2A677E5C0}" v="31" dt="2024-07-17T16:30:44.921"/>
    <p1510:client id="{F091413E-703A-432E-BF06-BA59F8D813F5}" v="13" dt="2024-07-18T09:16:08.8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486" autoAdjust="0"/>
  </p:normalViewPr>
  <p:slideViewPr>
    <p:cSldViewPr snapToGrid="0">
      <p:cViewPr varScale="1">
        <p:scale>
          <a:sx n="76" d="100"/>
          <a:sy n="76" d="100"/>
        </p:scale>
        <p:origin x="294"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font" Target="fonts/font1.fntdata"/><Relationship Id="rId39" Type="http://schemas.microsoft.com/office/2015/10/relationships/revisionInfo" Target="revisionInfo.xml"/><Relationship Id="rId21" Type="http://schemas.openxmlformats.org/officeDocument/2006/relationships/slide" Target="slides/slide5.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 Hewitt" userId="6c60c958-85fb-42ad-a280-0556a08dc742" providerId="ADAL" clId="{F091413E-703A-432E-BF06-BA59F8D813F5}"/>
    <pc:docChg chg="undo custSel addSld modSld">
      <pc:chgData name="Phil Hewitt" userId="6c60c958-85fb-42ad-a280-0556a08dc742" providerId="ADAL" clId="{F091413E-703A-432E-BF06-BA59F8D813F5}" dt="2024-07-18T10:24:04.219" v="478" actId="20577"/>
      <pc:docMkLst>
        <pc:docMk/>
      </pc:docMkLst>
      <pc:sldChg chg="modSp mod">
        <pc:chgData name="Phil Hewitt" userId="6c60c958-85fb-42ad-a280-0556a08dc742" providerId="ADAL" clId="{F091413E-703A-432E-BF06-BA59F8D813F5}" dt="2024-07-18T10:23:33.334" v="463" actId="20577"/>
        <pc:sldMkLst>
          <pc:docMk/>
          <pc:sldMk cId="3925231413" sldId="2146847547"/>
        </pc:sldMkLst>
        <pc:spChg chg="mod">
          <ac:chgData name="Phil Hewitt" userId="6c60c958-85fb-42ad-a280-0556a08dc742" providerId="ADAL" clId="{F091413E-703A-432E-BF06-BA59F8D813F5}" dt="2024-07-18T10:23:33.334" v="463" actId="20577"/>
          <ac:spMkLst>
            <pc:docMk/>
            <pc:sldMk cId="3925231413" sldId="2146847547"/>
            <ac:spMk id="4" creationId="{5C73505C-7550-F42E-F7DA-3BA9D49596EC}"/>
          </ac:spMkLst>
        </pc:spChg>
      </pc:sldChg>
      <pc:sldChg chg="modNotesTx">
        <pc:chgData name="Phil Hewitt" userId="6c60c958-85fb-42ad-a280-0556a08dc742" providerId="ADAL" clId="{F091413E-703A-432E-BF06-BA59F8D813F5}" dt="2024-07-18T09:29:21.461" v="403" actId="20577"/>
        <pc:sldMkLst>
          <pc:docMk/>
          <pc:sldMk cId="1360074557" sldId="2146847549"/>
        </pc:sldMkLst>
      </pc:sldChg>
      <pc:sldChg chg="addSp modSp mod modNotesTx">
        <pc:chgData name="Phil Hewitt" userId="6c60c958-85fb-42ad-a280-0556a08dc742" providerId="ADAL" clId="{F091413E-703A-432E-BF06-BA59F8D813F5}" dt="2024-07-18T09:35:37.195" v="457" actId="20577"/>
        <pc:sldMkLst>
          <pc:docMk/>
          <pc:sldMk cId="4273894152" sldId="2146847550"/>
        </pc:sldMkLst>
        <pc:spChg chg="mod">
          <ac:chgData name="Phil Hewitt" userId="6c60c958-85fb-42ad-a280-0556a08dc742" providerId="ADAL" clId="{F091413E-703A-432E-BF06-BA59F8D813F5}" dt="2024-07-18T08:58:27.108" v="258" actId="20577"/>
          <ac:spMkLst>
            <pc:docMk/>
            <pc:sldMk cId="4273894152" sldId="2146847550"/>
            <ac:spMk id="4" creationId="{5C73505C-7550-F42E-F7DA-3BA9D49596EC}"/>
          </ac:spMkLst>
        </pc:spChg>
        <pc:spChg chg="add mod">
          <ac:chgData name="Phil Hewitt" userId="6c60c958-85fb-42ad-a280-0556a08dc742" providerId="ADAL" clId="{F091413E-703A-432E-BF06-BA59F8D813F5}" dt="2024-07-18T09:01:02.428" v="268"/>
          <ac:spMkLst>
            <pc:docMk/>
            <pc:sldMk cId="4273894152" sldId="2146847550"/>
            <ac:spMk id="6" creationId="{3F4D4100-CD19-A74D-03AE-F6139E1ABD21}"/>
          </ac:spMkLst>
        </pc:spChg>
        <pc:picChg chg="add mod">
          <ac:chgData name="Phil Hewitt" userId="6c60c958-85fb-42ad-a280-0556a08dc742" providerId="ADAL" clId="{F091413E-703A-432E-BF06-BA59F8D813F5}" dt="2024-07-18T08:58:39.280" v="262" actId="1076"/>
          <ac:picMkLst>
            <pc:docMk/>
            <pc:sldMk cId="4273894152" sldId="2146847550"/>
            <ac:picMk id="5" creationId="{D22F7B51-EB57-FC12-D6F0-0F0124BF2A19}"/>
          </ac:picMkLst>
        </pc:picChg>
      </pc:sldChg>
      <pc:sldChg chg="addSp delSp modSp mod modNotesTx">
        <pc:chgData name="Phil Hewitt" userId="6c60c958-85fb-42ad-a280-0556a08dc742" providerId="ADAL" clId="{F091413E-703A-432E-BF06-BA59F8D813F5}" dt="2024-07-18T09:07:38.880" v="314" actId="20577"/>
        <pc:sldMkLst>
          <pc:docMk/>
          <pc:sldMk cId="4018937924" sldId="2146847551"/>
        </pc:sldMkLst>
        <pc:spChg chg="mod">
          <ac:chgData name="Phil Hewitt" userId="6c60c958-85fb-42ad-a280-0556a08dc742" providerId="ADAL" clId="{F091413E-703A-432E-BF06-BA59F8D813F5}" dt="2024-07-18T09:01:35.830" v="285" actId="6549"/>
          <ac:spMkLst>
            <pc:docMk/>
            <pc:sldMk cId="4018937924" sldId="2146847551"/>
            <ac:spMk id="4" creationId="{5C73505C-7550-F42E-F7DA-3BA9D49596EC}"/>
          </ac:spMkLst>
        </pc:spChg>
        <pc:spChg chg="mod">
          <ac:chgData name="Phil Hewitt" userId="6c60c958-85fb-42ad-a280-0556a08dc742" providerId="ADAL" clId="{F091413E-703A-432E-BF06-BA59F8D813F5}" dt="2024-07-18T09:01:10.787" v="284" actId="20577"/>
          <ac:spMkLst>
            <pc:docMk/>
            <pc:sldMk cId="4018937924" sldId="2146847551"/>
            <ac:spMk id="5" creationId="{B151E06B-DD9B-C8B0-87DE-68D31F90C6C5}"/>
          </ac:spMkLst>
        </pc:spChg>
        <pc:picChg chg="add mod">
          <ac:chgData name="Phil Hewitt" userId="6c60c958-85fb-42ad-a280-0556a08dc742" providerId="ADAL" clId="{F091413E-703A-432E-BF06-BA59F8D813F5}" dt="2024-07-18T09:00:58.626" v="267" actId="1076"/>
          <ac:picMkLst>
            <pc:docMk/>
            <pc:sldMk cId="4018937924" sldId="2146847551"/>
            <ac:picMk id="7" creationId="{3B501532-AD94-212C-52D9-40CE6F060E19}"/>
          </ac:picMkLst>
        </pc:picChg>
        <pc:picChg chg="del">
          <ac:chgData name="Phil Hewitt" userId="6c60c958-85fb-42ad-a280-0556a08dc742" providerId="ADAL" clId="{F091413E-703A-432E-BF06-BA59F8D813F5}" dt="2024-07-18T08:59:04.101" v="264" actId="478"/>
          <ac:picMkLst>
            <pc:docMk/>
            <pc:sldMk cId="4018937924" sldId="2146847551"/>
            <ac:picMk id="1026" creationId="{4EB77033-DB2A-6F04-E9F3-264A271CED34}"/>
          </ac:picMkLst>
        </pc:picChg>
      </pc:sldChg>
      <pc:sldChg chg="addSp delSp modSp new mod modNotesTx">
        <pc:chgData name="Phil Hewitt" userId="6c60c958-85fb-42ad-a280-0556a08dc742" providerId="ADAL" clId="{F091413E-703A-432E-BF06-BA59F8D813F5}" dt="2024-07-18T10:24:04.219" v="478" actId="20577"/>
        <pc:sldMkLst>
          <pc:docMk/>
          <pc:sldMk cId="2288203793" sldId="2146847552"/>
        </pc:sldMkLst>
        <pc:spChg chg="mod">
          <ac:chgData name="Phil Hewitt" userId="6c60c958-85fb-42ad-a280-0556a08dc742" providerId="ADAL" clId="{F091413E-703A-432E-BF06-BA59F8D813F5}" dt="2024-07-18T08:52:26.979" v="33" actId="20577"/>
          <ac:spMkLst>
            <pc:docMk/>
            <pc:sldMk cId="2288203793" sldId="2146847552"/>
            <ac:spMk id="2" creationId="{660C4E5A-662E-6269-A030-75C546D34281}"/>
          </ac:spMkLst>
        </pc:spChg>
        <pc:spChg chg="mod">
          <ac:chgData name="Phil Hewitt" userId="6c60c958-85fb-42ad-a280-0556a08dc742" providerId="ADAL" clId="{F091413E-703A-432E-BF06-BA59F8D813F5}" dt="2024-07-18T08:52:18.287" v="2" actId="20577"/>
          <ac:spMkLst>
            <pc:docMk/>
            <pc:sldMk cId="2288203793" sldId="2146847552"/>
            <ac:spMk id="3" creationId="{1D44CC81-4A45-9A74-CCC8-E759D7FF6737}"/>
          </ac:spMkLst>
        </pc:spChg>
        <pc:spChg chg="mod">
          <ac:chgData name="Phil Hewitt" userId="6c60c958-85fb-42ad-a280-0556a08dc742" providerId="ADAL" clId="{F091413E-703A-432E-BF06-BA59F8D813F5}" dt="2024-07-18T10:24:04.219" v="478" actId="20577"/>
          <ac:spMkLst>
            <pc:docMk/>
            <pc:sldMk cId="2288203793" sldId="2146847552"/>
            <ac:spMk id="4" creationId="{4633FC58-58F6-49C6-487E-B7E26EFDC8A1}"/>
          </ac:spMkLst>
        </pc:spChg>
        <pc:spChg chg="add mod">
          <ac:chgData name="Phil Hewitt" userId="6c60c958-85fb-42ad-a280-0556a08dc742" providerId="ADAL" clId="{F091413E-703A-432E-BF06-BA59F8D813F5}" dt="2024-07-18T09:16:08.874" v="319"/>
          <ac:spMkLst>
            <pc:docMk/>
            <pc:sldMk cId="2288203793" sldId="2146847552"/>
            <ac:spMk id="7" creationId="{02AEDDCD-BFA3-CD9C-8809-B396B6D2B7AF}"/>
          </ac:spMkLst>
        </pc:spChg>
        <pc:picChg chg="add mod">
          <ac:chgData name="Phil Hewitt" userId="6c60c958-85fb-42ad-a280-0556a08dc742" providerId="ADAL" clId="{F091413E-703A-432E-BF06-BA59F8D813F5}" dt="2024-07-18T09:15:45.206" v="318" actId="1076"/>
          <ac:picMkLst>
            <pc:docMk/>
            <pc:sldMk cId="2288203793" sldId="2146847552"/>
            <ac:picMk id="6" creationId="{9CDC2783-B2CC-84B5-2D7B-533FC938C68C}"/>
          </ac:picMkLst>
        </pc:picChg>
        <pc:picChg chg="add del mod">
          <ac:chgData name="Phil Hewitt" userId="6c60c958-85fb-42ad-a280-0556a08dc742" providerId="ADAL" clId="{F091413E-703A-432E-BF06-BA59F8D813F5}" dt="2024-07-18T09:15:36.869" v="315" actId="478"/>
          <ac:picMkLst>
            <pc:docMk/>
            <pc:sldMk cId="2288203793" sldId="2146847552"/>
            <ac:picMk id="1026" creationId="{45132E7D-EEDB-D583-40F5-A563A2FDF3BE}"/>
          </ac:picMkLst>
        </pc:picChg>
      </pc:sldChg>
    </pc:docChg>
  </pc:docChgLst>
  <pc:docChgLst>
    <pc:chgData name="Phil Hewitt" userId="6c60c958-85fb-42ad-a280-0556a08dc742" providerId="ADAL" clId="{77051F5B-9B67-4CC4-921E-7DF2A677E5C0}"/>
    <pc:docChg chg="undo custSel addSld delSld modSld sldOrd">
      <pc:chgData name="Phil Hewitt" userId="6c60c958-85fb-42ad-a280-0556a08dc742" providerId="ADAL" clId="{77051F5B-9B67-4CC4-921E-7DF2A677E5C0}" dt="2024-07-17T16:51:36.806" v="5150" actId="20577"/>
      <pc:docMkLst>
        <pc:docMk/>
      </pc:docMkLst>
      <pc:sldChg chg="modSp mod">
        <pc:chgData name="Phil Hewitt" userId="6c60c958-85fb-42ad-a280-0556a08dc742" providerId="ADAL" clId="{77051F5B-9B67-4CC4-921E-7DF2A677E5C0}" dt="2024-07-17T15:21:46.136" v="2" actId="20577"/>
        <pc:sldMkLst>
          <pc:docMk/>
          <pc:sldMk cId="1357019258" sldId="258"/>
        </pc:sldMkLst>
        <pc:spChg chg="mod">
          <ac:chgData name="Phil Hewitt" userId="6c60c958-85fb-42ad-a280-0556a08dc742" providerId="ADAL" clId="{77051F5B-9B67-4CC4-921E-7DF2A677E5C0}" dt="2024-07-17T15:21:46.136" v="2" actId="20577"/>
          <ac:spMkLst>
            <pc:docMk/>
            <pc:sldMk cId="1357019258" sldId="258"/>
            <ac:spMk id="2" creationId="{00000000-0000-0000-0000-000000000000}"/>
          </ac:spMkLst>
        </pc:spChg>
      </pc:sldChg>
      <pc:sldChg chg="del">
        <pc:chgData name="Phil Hewitt" userId="6c60c958-85fb-42ad-a280-0556a08dc742" providerId="ADAL" clId="{77051F5B-9B67-4CC4-921E-7DF2A677E5C0}" dt="2024-07-17T15:47:29.415" v="827" actId="47"/>
        <pc:sldMkLst>
          <pc:docMk/>
          <pc:sldMk cId="932405588" sldId="297"/>
        </pc:sldMkLst>
      </pc:sldChg>
      <pc:sldChg chg="del">
        <pc:chgData name="Phil Hewitt" userId="6c60c958-85fb-42ad-a280-0556a08dc742" providerId="ADAL" clId="{77051F5B-9B67-4CC4-921E-7DF2A677E5C0}" dt="2024-07-17T15:47:26.539" v="820" actId="47"/>
        <pc:sldMkLst>
          <pc:docMk/>
          <pc:sldMk cId="2976402876" sldId="2146847496"/>
        </pc:sldMkLst>
      </pc:sldChg>
      <pc:sldChg chg="del">
        <pc:chgData name="Phil Hewitt" userId="6c60c958-85fb-42ad-a280-0556a08dc742" providerId="ADAL" clId="{77051F5B-9B67-4CC4-921E-7DF2A677E5C0}" dt="2024-07-17T15:47:26.334" v="819" actId="47"/>
        <pc:sldMkLst>
          <pc:docMk/>
          <pc:sldMk cId="3395131397" sldId="2146847497"/>
        </pc:sldMkLst>
      </pc:sldChg>
      <pc:sldChg chg="del">
        <pc:chgData name="Phil Hewitt" userId="6c60c958-85fb-42ad-a280-0556a08dc742" providerId="ADAL" clId="{77051F5B-9B67-4CC4-921E-7DF2A677E5C0}" dt="2024-07-17T15:47:26.731" v="821" actId="47"/>
        <pc:sldMkLst>
          <pc:docMk/>
          <pc:sldMk cId="1383093539" sldId="2146847539"/>
        </pc:sldMkLst>
      </pc:sldChg>
      <pc:sldChg chg="del">
        <pc:chgData name="Phil Hewitt" userId="6c60c958-85fb-42ad-a280-0556a08dc742" providerId="ADAL" clId="{77051F5B-9B67-4CC4-921E-7DF2A677E5C0}" dt="2024-07-17T15:47:26.920" v="822" actId="47"/>
        <pc:sldMkLst>
          <pc:docMk/>
          <pc:sldMk cId="1873788714" sldId="2146847540"/>
        </pc:sldMkLst>
      </pc:sldChg>
      <pc:sldChg chg="del">
        <pc:chgData name="Phil Hewitt" userId="6c60c958-85fb-42ad-a280-0556a08dc742" providerId="ADAL" clId="{77051F5B-9B67-4CC4-921E-7DF2A677E5C0}" dt="2024-07-17T15:47:27.473" v="824" actId="47"/>
        <pc:sldMkLst>
          <pc:docMk/>
          <pc:sldMk cId="3074312422" sldId="2146847541"/>
        </pc:sldMkLst>
      </pc:sldChg>
      <pc:sldChg chg="del">
        <pc:chgData name="Phil Hewitt" userId="6c60c958-85fb-42ad-a280-0556a08dc742" providerId="ADAL" clId="{77051F5B-9B67-4CC4-921E-7DF2A677E5C0}" dt="2024-07-17T15:47:27.185" v="823" actId="47"/>
        <pc:sldMkLst>
          <pc:docMk/>
          <pc:sldMk cId="3311071609" sldId="2146847542"/>
        </pc:sldMkLst>
      </pc:sldChg>
      <pc:sldChg chg="del">
        <pc:chgData name="Phil Hewitt" userId="6c60c958-85fb-42ad-a280-0556a08dc742" providerId="ADAL" clId="{77051F5B-9B67-4CC4-921E-7DF2A677E5C0}" dt="2024-07-17T15:47:27.820" v="825" actId="47"/>
        <pc:sldMkLst>
          <pc:docMk/>
          <pc:sldMk cId="302266337" sldId="2146847543"/>
        </pc:sldMkLst>
      </pc:sldChg>
      <pc:sldChg chg="del">
        <pc:chgData name="Phil Hewitt" userId="6c60c958-85fb-42ad-a280-0556a08dc742" providerId="ADAL" clId="{77051F5B-9B67-4CC4-921E-7DF2A677E5C0}" dt="2024-07-17T15:47:28.310" v="826" actId="47"/>
        <pc:sldMkLst>
          <pc:docMk/>
          <pc:sldMk cId="3267333649" sldId="2146847544"/>
        </pc:sldMkLst>
      </pc:sldChg>
      <pc:sldChg chg="new del">
        <pc:chgData name="Phil Hewitt" userId="6c60c958-85fb-42ad-a280-0556a08dc742" providerId="ADAL" clId="{77051F5B-9B67-4CC4-921E-7DF2A677E5C0}" dt="2024-07-17T15:22:52.537" v="4" actId="47"/>
        <pc:sldMkLst>
          <pc:docMk/>
          <pc:sldMk cId="767934780" sldId="2146847545"/>
        </pc:sldMkLst>
      </pc:sldChg>
      <pc:sldChg chg="addSp delSp modSp new del mod">
        <pc:chgData name="Phil Hewitt" userId="6c60c958-85fb-42ad-a280-0556a08dc742" providerId="ADAL" clId="{77051F5B-9B67-4CC4-921E-7DF2A677E5C0}" dt="2024-07-17T15:29:32.068" v="75" actId="47"/>
        <pc:sldMkLst>
          <pc:docMk/>
          <pc:sldMk cId="2366984020" sldId="2146847545"/>
        </pc:sldMkLst>
        <pc:spChg chg="del">
          <ac:chgData name="Phil Hewitt" userId="6c60c958-85fb-42ad-a280-0556a08dc742" providerId="ADAL" clId="{77051F5B-9B67-4CC4-921E-7DF2A677E5C0}" dt="2024-07-17T15:23:10.248" v="6" actId="478"/>
          <ac:spMkLst>
            <pc:docMk/>
            <pc:sldMk cId="2366984020" sldId="2146847545"/>
            <ac:spMk id="2" creationId="{947EDB70-7CB3-57DA-1251-0F415E6E2767}"/>
          </ac:spMkLst>
        </pc:spChg>
        <pc:spChg chg="mod">
          <ac:chgData name="Phil Hewitt" userId="6c60c958-85fb-42ad-a280-0556a08dc742" providerId="ADAL" clId="{77051F5B-9B67-4CC4-921E-7DF2A677E5C0}" dt="2024-07-17T15:23:35.958" v="27" actId="20577"/>
          <ac:spMkLst>
            <pc:docMk/>
            <pc:sldMk cId="2366984020" sldId="2146847545"/>
            <ac:spMk id="3" creationId="{ACD5ADA8-6A46-42B6-A593-F5FF54AC81BE}"/>
          </ac:spMkLst>
        </pc:spChg>
        <pc:graphicFrameChg chg="add mod">
          <ac:chgData name="Phil Hewitt" userId="6c60c958-85fb-42ad-a280-0556a08dc742" providerId="ADAL" clId="{77051F5B-9B67-4CC4-921E-7DF2A677E5C0}" dt="2024-07-17T15:23:13.915" v="9"/>
          <ac:graphicFrameMkLst>
            <pc:docMk/>
            <pc:sldMk cId="2366984020" sldId="2146847545"/>
            <ac:graphicFrameMk id="4" creationId="{9DE42BF5-B244-27B6-8726-E9C96433C095}"/>
          </ac:graphicFrameMkLst>
        </pc:graphicFrameChg>
        <pc:graphicFrameChg chg="add mod">
          <ac:chgData name="Phil Hewitt" userId="6c60c958-85fb-42ad-a280-0556a08dc742" providerId="ADAL" clId="{77051F5B-9B67-4CC4-921E-7DF2A677E5C0}" dt="2024-07-17T15:24:58.399" v="31"/>
          <ac:graphicFrameMkLst>
            <pc:docMk/>
            <pc:sldMk cId="2366984020" sldId="2146847545"/>
            <ac:graphicFrameMk id="6" creationId="{9DE42BF5-B244-27B6-8726-E9C96433C095}"/>
          </ac:graphicFrameMkLst>
        </pc:graphicFrameChg>
        <pc:picChg chg="del mod">
          <ac:chgData name="Phil Hewitt" userId="6c60c958-85fb-42ad-a280-0556a08dc742" providerId="ADAL" clId="{77051F5B-9B67-4CC4-921E-7DF2A677E5C0}" dt="2024-07-17T15:24:54.201" v="28" actId="478"/>
          <ac:picMkLst>
            <pc:docMk/>
            <pc:sldMk cId="2366984020" sldId="2146847545"/>
            <ac:picMk id="5" creationId="{7006D24E-8474-8B54-C599-9E49BB831437}"/>
          </ac:picMkLst>
        </pc:picChg>
        <pc:picChg chg="mod">
          <ac:chgData name="Phil Hewitt" userId="6c60c958-85fb-42ad-a280-0556a08dc742" providerId="ADAL" clId="{77051F5B-9B67-4CC4-921E-7DF2A677E5C0}" dt="2024-07-17T15:25:10.499" v="34" actId="1076"/>
          <ac:picMkLst>
            <pc:docMk/>
            <pc:sldMk cId="2366984020" sldId="2146847545"/>
            <ac:picMk id="7" creationId="{2633305E-42B7-6BC8-72BF-F60336D3DA21}"/>
          </ac:picMkLst>
        </pc:picChg>
      </pc:sldChg>
      <pc:sldChg chg="new del">
        <pc:chgData name="Phil Hewitt" userId="6c60c958-85fb-42ad-a280-0556a08dc742" providerId="ADAL" clId="{77051F5B-9B67-4CC4-921E-7DF2A677E5C0}" dt="2024-07-17T15:28:48.387" v="52" actId="47"/>
        <pc:sldMkLst>
          <pc:docMk/>
          <pc:sldMk cId="135759030" sldId="2146847546"/>
        </pc:sldMkLst>
      </pc:sldChg>
      <pc:sldChg chg="new del">
        <pc:chgData name="Phil Hewitt" userId="6c60c958-85fb-42ad-a280-0556a08dc742" providerId="ADAL" clId="{77051F5B-9B67-4CC4-921E-7DF2A677E5C0}" dt="2024-07-17T15:25:59.420" v="42" actId="47"/>
        <pc:sldMkLst>
          <pc:docMk/>
          <pc:sldMk cId="758142660" sldId="2146847546"/>
        </pc:sldMkLst>
      </pc:sldChg>
      <pc:sldChg chg="new del">
        <pc:chgData name="Phil Hewitt" userId="6c60c958-85fb-42ad-a280-0556a08dc742" providerId="ADAL" clId="{77051F5B-9B67-4CC4-921E-7DF2A677E5C0}" dt="2024-07-17T15:27:22.167" v="44" actId="680"/>
        <pc:sldMkLst>
          <pc:docMk/>
          <pc:sldMk cId="922190155" sldId="2146847546"/>
        </pc:sldMkLst>
      </pc:sldChg>
      <pc:sldChg chg="addSp delSp modSp new del mod">
        <pc:chgData name="Phil Hewitt" userId="6c60c958-85fb-42ad-a280-0556a08dc742" providerId="ADAL" clId="{77051F5B-9B67-4CC4-921E-7DF2A677E5C0}" dt="2024-07-17T15:25:47.784" v="40" actId="680"/>
        <pc:sldMkLst>
          <pc:docMk/>
          <pc:sldMk cId="1633420127" sldId="2146847546"/>
        </pc:sldMkLst>
        <pc:picChg chg="add del mod">
          <ac:chgData name="Phil Hewitt" userId="6c60c958-85fb-42ad-a280-0556a08dc742" providerId="ADAL" clId="{77051F5B-9B67-4CC4-921E-7DF2A677E5C0}" dt="2024-07-17T15:25:46.676" v="39"/>
          <ac:picMkLst>
            <pc:docMk/>
            <pc:sldMk cId="1633420127" sldId="2146847546"/>
            <ac:picMk id="5" creationId="{3558F5E1-31AC-D27F-5A97-9BA891100C8C}"/>
          </ac:picMkLst>
        </pc:picChg>
      </pc:sldChg>
      <pc:sldChg chg="new del">
        <pc:chgData name="Phil Hewitt" userId="6c60c958-85fb-42ad-a280-0556a08dc742" providerId="ADAL" clId="{77051F5B-9B67-4CC4-921E-7DF2A677E5C0}" dt="2024-07-17T15:27:48.362" v="46" actId="680"/>
        <pc:sldMkLst>
          <pc:docMk/>
          <pc:sldMk cId="3637067564" sldId="2146847546"/>
        </pc:sldMkLst>
      </pc:sldChg>
      <pc:sldChg chg="addSp modSp new mod ord modNotesTx">
        <pc:chgData name="Phil Hewitt" userId="6c60c958-85fb-42ad-a280-0556a08dc742" providerId="ADAL" clId="{77051F5B-9B67-4CC4-921E-7DF2A677E5C0}" dt="2024-07-17T16:48:15.360" v="4365" actId="20577"/>
        <pc:sldMkLst>
          <pc:docMk/>
          <pc:sldMk cId="3752581449" sldId="2146847546"/>
        </pc:sldMkLst>
        <pc:spChg chg="mod">
          <ac:chgData name="Phil Hewitt" userId="6c60c958-85fb-42ad-a280-0556a08dc742" providerId="ADAL" clId="{77051F5B-9B67-4CC4-921E-7DF2A677E5C0}" dt="2024-07-17T15:29:43.681" v="76" actId="20577"/>
          <ac:spMkLst>
            <pc:docMk/>
            <pc:sldMk cId="3752581449" sldId="2146847546"/>
            <ac:spMk id="2" creationId="{5959D596-6DA3-6CC8-11BF-ACDFC9FD78F1}"/>
          </ac:spMkLst>
        </pc:spChg>
        <pc:spChg chg="mod">
          <ac:chgData name="Phil Hewitt" userId="6c60c958-85fb-42ad-a280-0556a08dc742" providerId="ADAL" clId="{77051F5B-9B67-4CC4-921E-7DF2A677E5C0}" dt="2024-07-17T16:30:19.739" v="1158"/>
          <ac:spMkLst>
            <pc:docMk/>
            <pc:sldMk cId="3752581449" sldId="2146847546"/>
            <ac:spMk id="3" creationId="{B37EEB6F-9B24-DF6C-50CE-ABEBF2C37518}"/>
          </ac:spMkLst>
        </pc:spChg>
        <pc:spChg chg="add mod">
          <ac:chgData name="Phil Hewitt" userId="6c60c958-85fb-42ad-a280-0556a08dc742" providerId="ADAL" clId="{77051F5B-9B67-4CC4-921E-7DF2A677E5C0}" dt="2024-07-17T16:29:16.316" v="1116" actId="1076"/>
          <ac:spMkLst>
            <pc:docMk/>
            <pc:sldMk cId="3752581449" sldId="2146847546"/>
            <ac:spMk id="6" creationId="{1E6F5D50-7A35-28DD-9F14-501A9F9812CA}"/>
          </ac:spMkLst>
        </pc:spChg>
        <pc:picChg chg="add mod">
          <ac:chgData name="Phil Hewitt" userId="6c60c958-85fb-42ad-a280-0556a08dc742" providerId="ADAL" clId="{77051F5B-9B67-4CC4-921E-7DF2A677E5C0}" dt="2024-07-17T16:29:10.446" v="1115" actId="1076"/>
          <ac:picMkLst>
            <pc:docMk/>
            <pc:sldMk cId="3752581449" sldId="2146847546"/>
            <ac:picMk id="5" creationId="{23DB96D4-ABD8-E3E2-FC96-63A050FB0CDC}"/>
          </ac:picMkLst>
        </pc:picChg>
      </pc:sldChg>
      <pc:sldChg chg="new del">
        <pc:chgData name="Phil Hewitt" userId="6c60c958-85fb-42ad-a280-0556a08dc742" providerId="ADAL" clId="{77051F5B-9B67-4CC4-921E-7DF2A677E5C0}" dt="2024-07-17T15:28:22.816" v="49" actId="47"/>
        <pc:sldMkLst>
          <pc:docMk/>
          <pc:sldMk cId="3957522209" sldId="2146847546"/>
        </pc:sldMkLst>
      </pc:sldChg>
      <pc:sldChg chg="new del">
        <pc:chgData name="Phil Hewitt" userId="6c60c958-85fb-42ad-a280-0556a08dc742" providerId="ADAL" clId="{77051F5B-9B67-4CC4-921E-7DF2A677E5C0}" dt="2024-07-17T15:28:23.294" v="50" actId="47"/>
        <pc:sldMkLst>
          <pc:docMk/>
          <pc:sldMk cId="336312075" sldId="2146847547"/>
        </pc:sldMkLst>
      </pc:sldChg>
      <pc:sldChg chg="delSp modSp add mod ord modNotesTx">
        <pc:chgData name="Phil Hewitt" userId="6c60c958-85fb-42ad-a280-0556a08dc742" providerId="ADAL" clId="{77051F5B-9B67-4CC4-921E-7DF2A677E5C0}" dt="2024-07-17T16:30:09.401" v="1155"/>
        <pc:sldMkLst>
          <pc:docMk/>
          <pc:sldMk cId="3925231413" sldId="2146847547"/>
        </pc:sldMkLst>
        <pc:spChg chg="mod">
          <ac:chgData name="Phil Hewitt" userId="6c60c958-85fb-42ad-a280-0556a08dc742" providerId="ADAL" clId="{77051F5B-9B67-4CC4-921E-7DF2A677E5C0}" dt="2024-07-17T16:25:08.109" v="1080" actId="20577"/>
          <ac:spMkLst>
            <pc:docMk/>
            <pc:sldMk cId="3925231413" sldId="2146847547"/>
            <ac:spMk id="2" creationId="{5959D596-6DA3-6CC8-11BF-ACDFC9FD78F1}"/>
          </ac:spMkLst>
        </pc:spChg>
        <pc:spChg chg="mod">
          <ac:chgData name="Phil Hewitt" userId="6c60c958-85fb-42ad-a280-0556a08dc742" providerId="ADAL" clId="{77051F5B-9B67-4CC4-921E-7DF2A677E5C0}" dt="2024-07-17T16:30:09.401" v="1155"/>
          <ac:spMkLst>
            <pc:docMk/>
            <pc:sldMk cId="3925231413" sldId="2146847547"/>
            <ac:spMk id="3" creationId="{B37EEB6F-9B24-DF6C-50CE-ABEBF2C37518}"/>
          </ac:spMkLst>
        </pc:spChg>
        <pc:spChg chg="mod">
          <ac:chgData name="Phil Hewitt" userId="6c60c958-85fb-42ad-a280-0556a08dc742" providerId="ADAL" clId="{77051F5B-9B67-4CC4-921E-7DF2A677E5C0}" dt="2024-07-17T16:24:59.500" v="1070" actId="6549"/>
          <ac:spMkLst>
            <pc:docMk/>
            <pc:sldMk cId="3925231413" sldId="2146847547"/>
            <ac:spMk id="4" creationId="{5C73505C-7550-F42E-F7DA-3BA9D49596EC}"/>
          </ac:spMkLst>
        </pc:spChg>
        <pc:picChg chg="del">
          <ac:chgData name="Phil Hewitt" userId="6c60c958-85fb-42ad-a280-0556a08dc742" providerId="ADAL" clId="{77051F5B-9B67-4CC4-921E-7DF2A677E5C0}" dt="2024-07-17T15:37:11.117" v="161" actId="478"/>
          <ac:picMkLst>
            <pc:docMk/>
            <pc:sldMk cId="3925231413" sldId="2146847547"/>
            <ac:picMk id="5" creationId="{23DB96D4-ABD8-E3E2-FC96-63A050FB0CDC}"/>
          </ac:picMkLst>
        </pc:picChg>
      </pc:sldChg>
      <pc:sldChg chg="addSp delSp modSp add mod modNotesTx">
        <pc:chgData name="Phil Hewitt" userId="6c60c958-85fb-42ad-a280-0556a08dc742" providerId="ADAL" clId="{77051F5B-9B67-4CC4-921E-7DF2A677E5C0}" dt="2024-07-17T16:39:05.489" v="2546" actId="20577"/>
        <pc:sldMkLst>
          <pc:docMk/>
          <pc:sldMk cId="226675250" sldId="2146847548"/>
        </pc:sldMkLst>
        <pc:spChg chg="mod">
          <ac:chgData name="Phil Hewitt" userId="6c60c958-85fb-42ad-a280-0556a08dc742" providerId="ADAL" clId="{77051F5B-9B67-4CC4-921E-7DF2A677E5C0}" dt="2024-07-17T15:32:06.014" v="110" actId="20577"/>
          <ac:spMkLst>
            <pc:docMk/>
            <pc:sldMk cId="226675250" sldId="2146847548"/>
            <ac:spMk id="2" creationId="{5959D596-6DA3-6CC8-11BF-ACDFC9FD78F1}"/>
          </ac:spMkLst>
        </pc:spChg>
        <pc:spChg chg="mod">
          <ac:chgData name="Phil Hewitt" userId="6c60c958-85fb-42ad-a280-0556a08dc742" providerId="ADAL" clId="{77051F5B-9B67-4CC4-921E-7DF2A677E5C0}" dt="2024-07-17T16:30:12.604" v="1156"/>
          <ac:spMkLst>
            <pc:docMk/>
            <pc:sldMk cId="226675250" sldId="2146847548"/>
            <ac:spMk id="3" creationId="{B37EEB6F-9B24-DF6C-50CE-ABEBF2C37518}"/>
          </ac:spMkLst>
        </pc:spChg>
        <pc:spChg chg="add mod">
          <ac:chgData name="Phil Hewitt" userId="6c60c958-85fb-42ad-a280-0556a08dc742" providerId="ADAL" clId="{77051F5B-9B67-4CC4-921E-7DF2A677E5C0}" dt="2024-07-17T16:28:56.857" v="1112" actId="1076"/>
          <ac:spMkLst>
            <pc:docMk/>
            <pc:sldMk cId="226675250" sldId="2146847548"/>
            <ac:spMk id="8" creationId="{07EF3D2E-768C-537E-F5DE-D4C3F74F50E5}"/>
          </ac:spMkLst>
        </pc:spChg>
        <pc:picChg chg="del">
          <ac:chgData name="Phil Hewitt" userId="6c60c958-85fb-42ad-a280-0556a08dc742" providerId="ADAL" clId="{77051F5B-9B67-4CC4-921E-7DF2A677E5C0}" dt="2024-07-17T15:32:08.847" v="111" actId="478"/>
          <ac:picMkLst>
            <pc:docMk/>
            <pc:sldMk cId="226675250" sldId="2146847548"/>
            <ac:picMk id="5" creationId="{23DB96D4-ABD8-E3E2-FC96-63A050FB0CDC}"/>
          </ac:picMkLst>
        </pc:picChg>
        <pc:picChg chg="mod">
          <ac:chgData name="Phil Hewitt" userId="6c60c958-85fb-42ad-a280-0556a08dc742" providerId="ADAL" clId="{77051F5B-9B67-4CC4-921E-7DF2A677E5C0}" dt="2024-07-17T15:36:35.523" v="160" actId="1076"/>
          <ac:picMkLst>
            <pc:docMk/>
            <pc:sldMk cId="226675250" sldId="2146847548"/>
            <ac:picMk id="6" creationId="{766DB09C-7A5D-FF17-614A-15081D3C3A5B}"/>
          </ac:picMkLst>
        </pc:picChg>
        <pc:picChg chg="mod">
          <ac:chgData name="Phil Hewitt" userId="6c60c958-85fb-42ad-a280-0556a08dc742" providerId="ADAL" clId="{77051F5B-9B67-4CC4-921E-7DF2A677E5C0}" dt="2024-07-17T15:36:27.017" v="158" actId="1076"/>
          <ac:picMkLst>
            <pc:docMk/>
            <pc:sldMk cId="226675250" sldId="2146847548"/>
            <ac:picMk id="7" creationId="{4F89E5AF-3DEF-CEA1-E398-F1537E98A035}"/>
          </ac:picMkLst>
        </pc:picChg>
      </pc:sldChg>
      <pc:sldChg chg="addSp delSp modSp add mod modNotesTx">
        <pc:chgData name="Phil Hewitt" userId="6c60c958-85fb-42ad-a280-0556a08dc742" providerId="ADAL" clId="{77051F5B-9B67-4CC4-921E-7DF2A677E5C0}" dt="2024-07-17T16:41:10.495" v="2890" actId="20577"/>
        <pc:sldMkLst>
          <pc:docMk/>
          <pc:sldMk cId="1360074557" sldId="2146847549"/>
        </pc:sldMkLst>
        <pc:spChg chg="mod">
          <ac:chgData name="Phil Hewitt" userId="6c60c958-85fb-42ad-a280-0556a08dc742" providerId="ADAL" clId="{77051F5B-9B67-4CC4-921E-7DF2A677E5C0}" dt="2024-07-17T15:35:06.519" v="134" actId="20577"/>
          <ac:spMkLst>
            <pc:docMk/>
            <pc:sldMk cId="1360074557" sldId="2146847549"/>
            <ac:spMk id="2" creationId="{5959D596-6DA3-6CC8-11BF-ACDFC9FD78F1}"/>
          </ac:spMkLst>
        </pc:spChg>
        <pc:spChg chg="mod">
          <ac:chgData name="Phil Hewitt" userId="6c60c958-85fb-42ad-a280-0556a08dc742" providerId="ADAL" clId="{77051F5B-9B67-4CC4-921E-7DF2A677E5C0}" dt="2024-07-17T16:30:16.351" v="1157"/>
          <ac:spMkLst>
            <pc:docMk/>
            <pc:sldMk cId="1360074557" sldId="2146847549"/>
            <ac:spMk id="3" creationId="{B37EEB6F-9B24-DF6C-50CE-ABEBF2C37518}"/>
          </ac:spMkLst>
        </pc:spChg>
        <pc:spChg chg="add mod">
          <ac:chgData name="Phil Hewitt" userId="6c60c958-85fb-42ad-a280-0556a08dc742" providerId="ADAL" clId="{77051F5B-9B67-4CC4-921E-7DF2A677E5C0}" dt="2024-07-17T16:28:59.993" v="1113"/>
          <ac:spMkLst>
            <pc:docMk/>
            <pc:sldMk cId="1360074557" sldId="2146847549"/>
            <ac:spMk id="9" creationId="{62D420A8-DCF0-EDE1-F3D7-3CE75968D804}"/>
          </ac:spMkLst>
        </pc:spChg>
        <pc:picChg chg="add mod">
          <ac:chgData name="Phil Hewitt" userId="6c60c958-85fb-42ad-a280-0556a08dc742" providerId="ADAL" clId="{77051F5B-9B67-4CC4-921E-7DF2A677E5C0}" dt="2024-07-17T15:36:17.482" v="156" actId="1076"/>
          <ac:picMkLst>
            <pc:docMk/>
            <pc:sldMk cId="1360074557" sldId="2146847549"/>
            <ac:picMk id="5" creationId="{0DB648EB-1764-464F-5B90-FEE8FA9E7C05}"/>
          </ac:picMkLst>
        </pc:picChg>
        <pc:picChg chg="del">
          <ac:chgData name="Phil Hewitt" userId="6c60c958-85fb-42ad-a280-0556a08dc742" providerId="ADAL" clId="{77051F5B-9B67-4CC4-921E-7DF2A677E5C0}" dt="2024-07-17T15:34:50.057" v="124" actId="478"/>
          <ac:picMkLst>
            <pc:docMk/>
            <pc:sldMk cId="1360074557" sldId="2146847549"/>
            <ac:picMk id="6" creationId="{766DB09C-7A5D-FF17-614A-15081D3C3A5B}"/>
          </ac:picMkLst>
        </pc:picChg>
        <pc:picChg chg="del">
          <ac:chgData name="Phil Hewitt" userId="6c60c958-85fb-42ad-a280-0556a08dc742" providerId="ADAL" clId="{77051F5B-9B67-4CC4-921E-7DF2A677E5C0}" dt="2024-07-17T15:34:53.073" v="125" actId="478"/>
          <ac:picMkLst>
            <pc:docMk/>
            <pc:sldMk cId="1360074557" sldId="2146847549"/>
            <ac:picMk id="7" creationId="{4F89E5AF-3DEF-CEA1-E398-F1537E98A035}"/>
          </ac:picMkLst>
        </pc:picChg>
        <pc:picChg chg="add mod">
          <ac:chgData name="Phil Hewitt" userId="6c60c958-85fb-42ad-a280-0556a08dc742" providerId="ADAL" clId="{77051F5B-9B67-4CC4-921E-7DF2A677E5C0}" dt="2024-07-17T15:36:14.902" v="155" actId="1076"/>
          <ac:picMkLst>
            <pc:docMk/>
            <pc:sldMk cId="1360074557" sldId="2146847549"/>
            <ac:picMk id="8" creationId="{89784E26-5D6B-9946-2B42-97D267C69842}"/>
          </ac:picMkLst>
        </pc:picChg>
      </pc:sldChg>
      <pc:sldChg chg="delSp modSp add mod modNotesTx">
        <pc:chgData name="Phil Hewitt" userId="6c60c958-85fb-42ad-a280-0556a08dc742" providerId="ADAL" clId="{77051F5B-9B67-4CC4-921E-7DF2A677E5C0}" dt="2024-07-17T16:47:06.679" v="4094" actId="20577"/>
        <pc:sldMkLst>
          <pc:docMk/>
          <pc:sldMk cId="4273894152" sldId="2146847550"/>
        </pc:sldMkLst>
        <pc:spChg chg="mod">
          <ac:chgData name="Phil Hewitt" userId="6c60c958-85fb-42ad-a280-0556a08dc742" providerId="ADAL" clId="{77051F5B-9B67-4CC4-921E-7DF2A677E5C0}" dt="2024-07-17T15:42:03.042" v="494" actId="20577"/>
          <ac:spMkLst>
            <pc:docMk/>
            <pc:sldMk cId="4273894152" sldId="2146847550"/>
            <ac:spMk id="2" creationId="{5959D596-6DA3-6CC8-11BF-ACDFC9FD78F1}"/>
          </ac:spMkLst>
        </pc:spChg>
        <pc:spChg chg="mod">
          <ac:chgData name="Phil Hewitt" userId="6c60c958-85fb-42ad-a280-0556a08dc742" providerId="ADAL" clId="{77051F5B-9B67-4CC4-921E-7DF2A677E5C0}" dt="2024-07-17T16:30:24.586" v="1159"/>
          <ac:spMkLst>
            <pc:docMk/>
            <pc:sldMk cId="4273894152" sldId="2146847550"/>
            <ac:spMk id="3" creationId="{B37EEB6F-9B24-DF6C-50CE-ABEBF2C37518}"/>
          </ac:spMkLst>
        </pc:spChg>
        <pc:spChg chg="mod">
          <ac:chgData name="Phil Hewitt" userId="6c60c958-85fb-42ad-a280-0556a08dc742" providerId="ADAL" clId="{77051F5B-9B67-4CC4-921E-7DF2A677E5C0}" dt="2024-07-17T16:29:41.278" v="1149" actId="20577"/>
          <ac:spMkLst>
            <pc:docMk/>
            <pc:sldMk cId="4273894152" sldId="2146847550"/>
            <ac:spMk id="4" creationId="{5C73505C-7550-F42E-F7DA-3BA9D49596EC}"/>
          </ac:spMkLst>
        </pc:spChg>
        <pc:picChg chg="del">
          <ac:chgData name="Phil Hewitt" userId="6c60c958-85fb-42ad-a280-0556a08dc742" providerId="ADAL" clId="{77051F5B-9B67-4CC4-921E-7DF2A677E5C0}" dt="2024-07-17T15:42:06.155" v="495" actId="478"/>
          <ac:picMkLst>
            <pc:docMk/>
            <pc:sldMk cId="4273894152" sldId="2146847550"/>
            <ac:picMk id="5" creationId="{23DB96D4-ABD8-E3E2-FC96-63A050FB0CDC}"/>
          </ac:picMkLst>
        </pc:picChg>
      </pc:sldChg>
      <pc:sldChg chg="addSp modSp add mod modNotesTx">
        <pc:chgData name="Phil Hewitt" userId="6c60c958-85fb-42ad-a280-0556a08dc742" providerId="ADAL" clId="{77051F5B-9B67-4CC4-921E-7DF2A677E5C0}" dt="2024-07-17T16:51:36.806" v="5150" actId="20577"/>
        <pc:sldMkLst>
          <pc:docMk/>
          <pc:sldMk cId="4018937924" sldId="2146847551"/>
        </pc:sldMkLst>
        <pc:spChg chg="mod">
          <ac:chgData name="Phil Hewitt" userId="6c60c958-85fb-42ad-a280-0556a08dc742" providerId="ADAL" clId="{77051F5B-9B67-4CC4-921E-7DF2A677E5C0}" dt="2024-07-17T15:47:42.074" v="836" actId="20577"/>
          <ac:spMkLst>
            <pc:docMk/>
            <pc:sldMk cId="4018937924" sldId="2146847551"/>
            <ac:spMk id="2" creationId="{5959D596-6DA3-6CC8-11BF-ACDFC9FD78F1}"/>
          </ac:spMkLst>
        </pc:spChg>
        <pc:spChg chg="mod">
          <ac:chgData name="Phil Hewitt" userId="6c60c958-85fb-42ad-a280-0556a08dc742" providerId="ADAL" clId="{77051F5B-9B67-4CC4-921E-7DF2A677E5C0}" dt="2024-07-17T16:30:27.906" v="1160"/>
          <ac:spMkLst>
            <pc:docMk/>
            <pc:sldMk cId="4018937924" sldId="2146847551"/>
            <ac:spMk id="3" creationId="{B37EEB6F-9B24-DF6C-50CE-ABEBF2C37518}"/>
          </ac:spMkLst>
        </pc:spChg>
        <pc:spChg chg="mod">
          <ac:chgData name="Phil Hewitt" userId="6c60c958-85fb-42ad-a280-0556a08dc742" providerId="ADAL" clId="{77051F5B-9B67-4CC4-921E-7DF2A677E5C0}" dt="2024-07-17T16:31:10.739" v="1185" actId="20577"/>
          <ac:spMkLst>
            <pc:docMk/>
            <pc:sldMk cId="4018937924" sldId="2146847551"/>
            <ac:spMk id="4" creationId="{5C73505C-7550-F42E-F7DA-3BA9D49596EC}"/>
          </ac:spMkLst>
        </pc:spChg>
        <pc:spChg chg="add mod">
          <ac:chgData name="Phil Hewitt" userId="6c60c958-85fb-42ad-a280-0556a08dc742" providerId="ADAL" clId="{77051F5B-9B67-4CC4-921E-7DF2A677E5C0}" dt="2024-07-17T16:30:51.949" v="1175" actId="20577"/>
          <ac:spMkLst>
            <pc:docMk/>
            <pc:sldMk cId="4018937924" sldId="2146847551"/>
            <ac:spMk id="5" creationId="{B151E06B-DD9B-C8B0-87DE-68D31F90C6C5}"/>
          </ac:spMkLst>
        </pc:spChg>
        <pc:picChg chg="add mod">
          <ac:chgData name="Phil Hewitt" userId="6c60c958-85fb-42ad-a280-0556a08dc742" providerId="ADAL" clId="{77051F5B-9B67-4CC4-921E-7DF2A677E5C0}" dt="2024-07-17T16:26:07.322" v="1081" actId="14100"/>
          <ac:picMkLst>
            <pc:docMk/>
            <pc:sldMk cId="4018937924" sldId="2146847551"/>
            <ac:picMk id="1026" creationId="{4EB77033-DB2A-6F04-E9F3-264A271CED34}"/>
          </ac:picMkLst>
        </pc:picChg>
      </pc:sldChg>
      <pc:sldMasterChg chg="delSldLayout">
        <pc:chgData name="Phil Hewitt" userId="6c60c958-85fb-42ad-a280-0556a08dc742" providerId="ADAL" clId="{77051F5B-9B67-4CC4-921E-7DF2A677E5C0}" dt="2024-07-17T15:47:29.415" v="827" actId="47"/>
        <pc:sldMasterMkLst>
          <pc:docMk/>
          <pc:sldMasterMk cId="267563118" sldId="2147483648"/>
        </pc:sldMasterMkLst>
        <pc:sldLayoutChg chg="del">
          <pc:chgData name="Phil Hewitt" userId="6c60c958-85fb-42ad-a280-0556a08dc742" providerId="ADAL" clId="{77051F5B-9B67-4CC4-921E-7DF2A677E5C0}" dt="2024-07-17T15:47:27.820" v="825" actId="47"/>
          <pc:sldLayoutMkLst>
            <pc:docMk/>
            <pc:sldMasterMk cId="267563118" sldId="2147483648"/>
            <pc:sldLayoutMk cId="2649695155" sldId="2147483767"/>
          </pc:sldLayoutMkLst>
        </pc:sldLayoutChg>
        <pc:sldLayoutChg chg="del">
          <pc:chgData name="Phil Hewitt" userId="6c60c958-85fb-42ad-a280-0556a08dc742" providerId="ADAL" clId="{77051F5B-9B67-4CC4-921E-7DF2A677E5C0}" dt="2024-07-17T15:47:29.415" v="827" actId="47"/>
          <pc:sldLayoutMkLst>
            <pc:docMk/>
            <pc:sldMasterMk cId="267563118" sldId="2147483648"/>
            <pc:sldLayoutMk cId="1771913311" sldId="214748376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4D1B4-8C55-8749-80B6-457D2C8B54D6}" type="datetimeFigureOut">
              <a:rPr lang="nb-NO" smtClean="0"/>
              <a:t>18.07.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7843-BD54-8F40-848A-64886B8FA44C}" type="slidenum">
              <a:rPr lang="nb-NO" smtClean="0"/>
              <a:t>‹#›</a:t>
            </a:fld>
            <a:endParaRPr lang="nb-NO"/>
          </a:p>
        </p:txBody>
      </p:sp>
    </p:spTree>
    <p:extLst>
      <p:ext uri="{BB962C8B-B14F-4D97-AF65-F5344CB8AC3E}">
        <p14:creationId xmlns:p14="http://schemas.microsoft.com/office/powerpoint/2010/main" val="1625829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2</a:t>
            </a:fld>
            <a:endParaRPr lang="nb-NO"/>
          </a:p>
        </p:txBody>
      </p:sp>
    </p:spTree>
    <p:extLst>
      <p:ext uri="{BB962C8B-B14F-4D97-AF65-F5344CB8AC3E}">
        <p14:creationId xmlns:p14="http://schemas.microsoft.com/office/powerpoint/2010/main" val="3595051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current state of the grid, it is a simple model using a fixed must run component of Nuclear, Gas fired CHP and industrial load that creates electricity and biomass. The wind combines onshore and offshore and embedded generation from </a:t>
            </a:r>
            <a:r>
              <a:rPr lang="en-US" dirty="0" err="1"/>
              <a:t>Elexon</a:t>
            </a:r>
            <a:r>
              <a:rPr lang="en-US" dirty="0"/>
              <a:t> / National Grid, solar is from Sheffield Uni data. Then we use indicative demand data from National Grid to get a residual the needs to be met by fossil generation or storage or interconnection. You can see the off occasional period of excess generation, this may be exported or curtailed.</a:t>
            </a:r>
          </a:p>
          <a:p>
            <a:endParaRPr lang="en-US" dirty="0"/>
          </a:p>
          <a:p>
            <a:r>
              <a:rPr lang="en-US" dirty="0"/>
              <a:t>Data is for December, 2023 and June 2024</a:t>
            </a:r>
          </a:p>
          <a:p>
            <a:endParaRPr lang="en-US" dirty="0"/>
          </a:p>
          <a:p>
            <a:r>
              <a:rPr lang="en-US" dirty="0"/>
              <a:t>You can see in these charts the weekly and daily patterns of consumption and the intermittency of wind and solar with lots of space for fossil thermal generation.</a:t>
            </a:r>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3</a:t>
            </a:fld>
            <a:endParaRPr lang="nb-NO"/>
          </a:p>
        </p:txBody>
      </p:sp>
    </p:spTree>
    <p:extLst>
      <p:ext uri="{BB962C8B-B14F-4D97-AF65-F5344CB8AC3E}">
        <p14:creationId xmlns:p14="http://schemas.microsoft.com/office/powerpoint/2010/main" val="216096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e apply the scaling of tripling solar and tripling wind we get the following charts. We also have to increase demand so I have used assumptions in the National Grid FES and increased the demand by 9%.</a:t>
            </a:r>
          </a:p>
          <a:p>
            <a:endParaRPr lang="en-US" dirty="0"/>
          </a:p>
          <a:p>
            <a:r>
              <a:rPr lang="en-US" dirty="0"/>
              <a:t>You can see here that there is a lot of excess generation. This is a totally different market. With a lack of grid build out then some of this maybe curtailed or exported but generally we have a market that is heavily oversupplied.</a:t>
            </a:r>
          </a:p>
          <a:p>
            <a:endParaRPr lang="en-US" dirty="0"/>
          </a:p>
          <a:p>
            <a:r>
              <a:rPr lang="en-US" dirty="0"/>
              <a:t>Interconnection capacity will only grow from 10 GW to 12 GW so a fair amount of generation will be wasted and wholesale prices will be less than zero. You can anticipate no build out of hydrogen </a:t>
            </a:r>
            <a:r>
              <a:rPr lang="en-US" dirty="0" err="1"/>
              <a:t>electrolysers</a:t>
            </a:r>
            <a:r>
              <a:rPr lang="en-US" dirty="0"/>
              <a:t> at scale or additional nuclear build out or new pumped storage.</a:t>
            </a:r>
          </a:p>
          <a:p>
            <a:endParaRPr lang="en-US" dirty="0"/>
          </a:p>
          <a:p>
            <a:r>
              <a:rPr lang="en-US" dirty="0"/>
              <a:t>This is very much a supply side revolution, everything else which have to keep up.</a:t>
            </a:r>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4</a:t>
            </a:fld>
            <a:endParaRPr lang="nb-NO"/>
          </a:p>
        </p:txBody>
      </p:sp>
    </p:spTree>
    <p:extLst>
      <p:ext uri="{BB962C8B-B14F-4D97-AF65-F5344CB8AC3E}">
        <p14:creationId xmlns:p14="http://schemas.microsoft.com/office/powerpoint/2010/main" val="192064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lar has been building without subsidy for a couple of years after stalling at the end of the FIT/ROC regime. Current year on year capacity growth has been around 15 to 20%. To build triple solar requires a build out rate of 25% a year which does not seem unreasonable but you can see the volume of power at peak (just breached 10GW) will be significant on some days.</a:t>
            </a:r>
          </a:p>
          <a:p>
            <a:endParaRPr lang="en-US" dirty="0"/>
          </a:p>
          <a:p>
            <a:r>
              <a:rPr lang="en-US" dirty="0"/>
              <a:t>With this build out of solar NG ESO will need to have the facility to curtail the farms and suppliers will need time of use tariffs on generation to prevent being exposed to negative imbalance prices.</a:t>
            </a:r>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5</a:t>
            </a:fld>
            <a:endParaRPr lang="nb-NO"/>
          </a:p>
        </p:txBody>
      </p:sp>
    </p:spTree>
    <p:extLst>
      <p:ext uri="{BB962C8B-B14F-4D97-AF65-F5344CB8AC3E}">
        <p14:creationId xmlns:p14="http://schemas.microsoft.com/office/powerpoint/2010/main" val="401109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nd build out is more problematic, the offshore wind pipeline according to renewable UK is almost 100GW built, building and planned. This chart from Regen against the existing 50GW target shows that the 4x offshore wind is a challenging target. Currently slightly more than 13GW is operational and 8GW is building, more with a </a:t>
            </a:r>
            <a:r>
              <a:rPr lang="en-US" dirty="0" err="1"/>
              <a:t>CfD</a:t>
            </a:r>
            <a:r>
              <a:rPr lang="en-US" dirty="0"/>
              <a:t> but yet to start. However, AR5 failed to deliver any capacity, AR6 is only going to bring on between 3 and 5GW unless the new government gets the billpayers cheque book out. Realistically windfarms getting contracts in AR7 will potentially build in time for 2030 but AR8 onwards are unlikely to be around</a:t>
            </a:r>
          </a:p>
          <a:p>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6</a:t>
            </a:fld>
            <a:endParaRPr lang="nb-NO"/>
          </a:p>
        </p:txBody>
      </p:sp>
    </p:spTree>
    <p:extLst>
      <p:ext uri="{BB962C8B-B14F-4D97-AF65-F5344CB8AC3E}">
        <p14:creationId xmlns:p14="http://schemas.microsoft.com/office/powerpoint/2010/main" val="4143596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shore wind has a healthy grid connection queue and potentially could build quickly but it is likely these plants would be unsubsidized. This means they will be price reactive which as explained in the first slides will be </a:t>
            </a:r>
            <a:endParaRPr lang="en-GB" dirty="0"/>
          </a:p>
        </p:txBody>
      </p:sp>
      <p:sp>
        <p:nvSpPr>
          <p:cNvPr id="4" name="Slide Number Placeholder 3"/>
          <p:cNvSpPr>
            <a:spLocks noGrp="1"/>
          </p:cNvSpPr>
          <p:nvPr>
            <p:ph type="sldNum" sz="quarter" idx="5"/>
          </p:nvPr>
        </p:nvSpPr>
        <p:spPr/>
        <p:txBody>
          <a:bodyPr/>
          <a:lstStyle/>
          <a:p>
            <a:fld id="{DB847843-BD54-8F40-848A-64886B8FA44C}" type="slidenum">
              <a:rPr lang="nb-NO" smtClean="0"/>
              <a:t>7</a:t>
            </a:fld>
            <a:endParaRPr lang="nb-NO"/>
          </a:p>
        </p:txBody>
      </p:sp>
    </p:spTree>
    <p:extLst>
      <p:ext uri="{BB962C8B-B14F-4D97-AF65-F5344CB8AC3E}">
        <p14:creationId xmlns:p14="http://schemas.microsoft.com/office/powerpoint/2010/main" val="2669385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the barriers to build out.</a:t>
            </a:r>
          </a:p>
          <a:p>
            <a:endParaRPr lang="en-US" dirty="0"/>
          </a:p>
          <a:p>
            <a:r>
              <a:rPr lang="en-US" dirty="0"/>
              <a:t>Planning, the onshore ban has gone but NIBMYs will still try and stop onshore wind and overhead transmission</a:t>
            </a:r>
          </a:p>
          <a:p>
            <a:r>
              <a:rPr lang="en-US" dirty="0"/>
              <a:t>Grid, the grid needs to reprioritize the queue to build those who can and investment in copper needs to happen quickly to prevent constraints. First Ready, First Served</a:t>
            </a:r>
          </a:p>
          <a:p>
            <a:r>
              <a:rPr lang="en-US" dirty="0"/>
              <a:t>Supply chains will need to scale to build out the generation capacity</a:t>
            </a:r>
          </a:p>
          <a:p>
            <a:r>
              <a:rPr lang="en-US" dirty="0"/>
              <a:t>There needs to be heavy investment in stability services like inertia support, voltage control and reactive power. All the stuff that will be built will be DC.</a:t>
            </a:r>
          </a:p>
          <a:p>
            <a:r>
              <a:rPr lang="en-US" dirty="0"/>
              <a:t>The current interconnection queue to the continent probably needs to be </a:t>
            </a:r>
            <a:r>
              <a:rPr lang="en-US" dirty="0" err="1"/>
              <a:t>revisted</a:t>
            </a:r>
            <a:r>
              <a:rPr lang="en-US" dirty="0"/>
              <a:t> after all but one project was not approved by Ofgem</a:t>
            </a:r>
          </a:p>
          <a:p>
            <a:r>
              <a:rPr lang="en-US" dirty="0"/>
              <a:t>GB energy needs to come up with money for infrastructure and innovation</a:t>
            </a:r>
          </a:p>
        </p:txBody>
      </p:sp>
      <p:sp>
        <p:nvSpPr>
          <p:cNvPr id="4" name="Slide Number Placeholder 3"/>
          <p:cNvSpPr>
            <a:spLocks noGrp="1"/>
          </p:cNvSpPr>
          <p:nvPr>
            <p:ph type="sldNum" sz="quarter" idx="5"/>
          </p:nvPr>
        </p:nvSpPr>
        <p:spPr/>
        <p:txBody>
          <a:bodyPr/>
          <a:lstStyle/>
          <a:p>
            <a:fld id="{DB847843-BD54-8F40-848A-64886B8FA44C}" type="slidenum">
              <a:rPr lang="nb-NO" smtClean="0"/>
              <a:t>8</a:t>
            </a:fld>
            <a:endParaRPr lang="nb-NO"/>
          </a:p>
        </p:txBody>
      </p:sp>
    </p:spTree>
    <p:extLst>
      <p:ext uri="{BB962C8B-B14F-4D97-AF65-F5344CB8AC3E}">
        <p14:creationId xmlns:p14="http://schemas.microsoft.com/office/powerpoint/2010/main" val="2522585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18.emf"/><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 Id="rId5" Type="http://schemas.openxmlformats.org/officeDocument/2006/relationships/image" Target="../media/image34.emf"/><Relationship Id="rId4" Type="http://schemas.openxmlformats.org/officeDocument/2006/relationships/image" Target="../media/image33.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 Id="rId5" Type="http://schemas.openxmlformats.org/officeDocument/2006/relationships/image" Target="../media/image38.emf"/><Relationship Id="rId4" Type="http://schemas.openxmlformats.org/officeDocument/2006/relationships/image" Target="../media/image37.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8.emf"/><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1.xml"/><Relationship Id="rId5" Type="http://schemas.openxmlformats.org/officeDocument/2006/relationships/image" Target="../media/image42.emf"/><Relationship Id="rId4" Type="http://schemas.openxmlformats.org/officeDocument/2006/relationships/image" Target="../media/image4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2.xml"/><Relationship Id="rId5" Type="http://schemas.openxmlformats.org/officeDocument/2006/relationships/image" Target="../media/image44.emf"/><Relationship Id="rId4" Type="http://schemas.openxmlformats.org/officeDocument/2006/relationships/image" Target="../media/image43.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3.xml"/><Relationship Id="rId5" Type="http://schemas.openxmlformats.org/officeDocument/2006/relationships/image" Target="../media/image46.emf"/><Relationship Id="rId4" Type="http://schemas.openxmlformats.org/officeDocument/2006/relationships/image" Target="../media/image45.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6.emf"/><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bbles with title">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6528" y="221803"/>
            <a:ext cx="1838245" cy="698851"/>
          </a:xfrm>
          <a:prstGeom prst="rect">
            <a:avLst/>
          </a:prstGeom>
        </p:spPr>
      </p:pic>
      <p:sp>
        <p:nvSpPr>
          <p:cNvPr id="13" name="Ellipse 12">
            <a:extLst>
              <a:ext uri="{FF2B5EF4-FFF2-40B4-BE49-F238E27FC236}">
                <a16:creationId xmlns:a16="http://schemas.microsoft.com/office/drawing/2014/main" id="{C05C9E9E-AE9A-CCCB-A1EE-56BE84147A16}"/>
              </a:ext>
            </a:extLst>
          </p:cNvPr>
          <p:cNvSpPr/>
          <p:nvPr userDrawn="1"/>
        </p:nvSpPr>
        <p:spPr>
          <a:xfrm>
            <a:off x="10213629" y="4225941"/>
            <a:ext cx="1410946" cy="14109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1F1E27E4-836A-4EBC-AC0E-5EC16DA0506E}"/>
              </a:ext>
            </a:extLst>
          </p:cNvPr>
          <p:cNvSpPr/>
          <p:nvPr userDrawn="1"/>
        </p:nvSpPr>
        <p:spPr>
          <a:xfrm>
            <a:off x="10992856" y="6120469"/>
            <a:ext cx="2627495" cy="26274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0F3EE9D2-9B08-77D1-9FED-64E69102BA16}"/>
              </a:ext>
            </a:extLst>
          </p:cNvPr>
          <p:cNvSpPr/>
          <p:nvPr userDrawn="1"/>
        </p:nvSpPr>
        <p:spPr>
          <a:xfrm>
            <a:off x="9581953" y="5785985"/>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16" name="Ellipse 15">
            <a:extLst>
              <a:ext uri="{FF2B5EF4-FFF2-40B4-BE49-F238E27FC236}">
                <a16:creationId xmlns:a16="http://schemas.microsoft.com/office/drawing/2014/main" id="{F6C5BF69-168D-0545-C7C3-439FCC048044}"/>
              </a:ext>
            </a:extLst>
          </p:cNvPr>
          <p:cNvSpPr/>
          <p:nvPr userDrawn="1"/>
        </p:nvSpPr>
        <p:spPr>
          <a:xfrm>
            <a:off x="9139384" y="4598314"/>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61E02421-0CE6-876D-253B-4ACBCE360236}"/>
              </a:ext>
            </a:extLst>
          </p:cNvPr>
          <p:cNvSpPr/>
          <p:nvPr userDrawn="1"/>
        </p:nvSpPr>
        <p:spPr>
          <a:xfrm>
            <a:off x="12040974" y="4841325"/>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1B54E97E-8B6C-A261-DA6C-646A4DA92150}"/>
              </a:ext>
            </a:extLst>
          </p:cNvPr>
          <p:cNvSpPr/>
          <p:nvPr userDrawn="1"/>
        </p:nvSpPr>
        <p:spPr>
          <a:xfrm>
            <a:off x="11386899" y="3221066"/>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FD870BD0-3DC4-CE3D-1A15-F2C7489E7E2F}"/>
              </a:ext>
            </a:extLst>
          </p:cNvPr>
          <p:cNvSpPr/>
          <p:nvPr userDrawn="1"/>
        </p:nvSpPr>
        <p:spPr>
          <a:xfrm>
            <a:off x="10101492" y="3581708"/>
            <a:ext cx="326231" cy="3261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5E144B33-9B63-A459-2EAD-A7449C2C3BA5}"/>
              </a:ext>
            </a:extLst>
          </p:cNvPr>
          <p:cNvSpPr/>
          <p:nvPr userDrawn="1"/>
        </p:nvSpPr>
        <p:spPr>
          <a:xfrm>
            <a:off x="824618" y="1344421"/>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1082877" y="-1291957"/>
            <a:ext cx="2627495" cy="2627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774206" y="2229942"/>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1849700" y="-304979"/>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1931262" y="907256"/>
            <a:ext cx="1463817" cy="146359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690862" y="1761272"/>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263805" y="2609839"/>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27">
            <a:extLst>
              <a:ext uri="{FF2B5EF4-FFF2-40B4-BE49-F238E27FC236}">
                <a16:creationId xmlns:a16="http://schemas.microsoft.com/office/drawing/2014/main" id="{03D8B6CF-6E4C-4F63-305B-334B1C74F108}"/>
              </a:ext>
            </a:extLst>
          </p:cNvPr>
          <p:cNvSpPr/>
          <p:nvPr userDrawn="1"/>
        </p:nvSpPr>
        <p:spPr>
          <a:xfrm>
            <a:off x="-588397" y="-161936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ktangel 28">
            <a:extLst>
              <a:ext uri="{FF2B5EF4-FFF2-40B4-BE49-F238E27FC236}">
                <a16:creationId xmlns:a16="http://schemas.microsoft.com/office/drawing/2014/main" id="{1192EEC7-0994-4293-0496-EF47B9E1F486}"/>
              </a:ext>
            </a:extLst>
          </p:cNvPr>
          <p:cNvSpPr/>
          <p:nvPr userDrawn="1"/>
        </p:nvSpPr>
        <p:spPr>
          <a:xfrm>
            <a:off x="-2349165" y="-1224501"/>
            <a:ext cx="2282024" cy="48943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ktangel 31">
            <a:extLst>
              <a:ext uri="{FF2B5EF4-FFF2-40B4-BE49-F238E27FC236}">
                <a16:creationId xmlns:a16="http://schemas.microsoft.com/office/drawing/2014/main" id="{DBC54FCC-12A3-2871-B107-1742B82DD7B5}"/>
              </a:ext>
            </a:extLst>
          </p:cNvPr>
          <p:cNvSpPr/>
          <p:nvPr userDrawn="1"/>
        </p:nvSpPr>
        <p:spPr>
          <a:xfrm>
            <a:off x="12189069" y="1367625"/>
            <a:ext cx="2282024" cy="70130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ktangel 32">
            <a:extLst>
              <a:ext uri="{FF2B5EF4-FFF2-40B4-BE49-F238E27FC236}">
                <a16:creationId xmlns:a16="http://schemas.microsoft.com/office/drawing/2014/main" id="{9C59FE9E-D0BB-2DBA-7263-705C27017F52}"/>
              </a:ext>
            </a:extLst>
          </p:cNvPr>
          <p:cNvSpPr/>
          <p:nvPr userDrawn="1"/>
        </p:nvSpPr>
        <p:spPr>
          <a:xfrm>
            <a:off x="-341907" y="6855730"/>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Plassholder for tekst 19">
            <a:extLst>
              <a:ext uri="{FF2B5EF4-FFF2-40B4-BE49-F238E27FC236}">
                <a16:creationId xmlns:a16="http://schemas.microsoft.com/office/drawing/2014/main" id="{016FBA27-B542-CAFA-3416-955CEFF65544}"/>
              </a:ext>
            </a:extLst>
          </p:cNvPr>
          <p:cNvSpPr>
            <a:spLocks noGrp="1"/>
          </p:cNvSpPr>
          <p:nvPr>
            <p:ph type="body" sz="quarter" idx="10"/>
          </p:nvPr>
        </p:nvSpPr>
        <p:spPr>
          <a:xfrm>
            <a:off x="902564" y="4321572"/>
            <a:ext cx="8471189" cy="1700081"/>
          </a:xfrm>
          <a:prstGeom prst="rect">
            <a:avLst/>
          </a:prstGeom>
        </p:spPr>
        <p:txBody>
          <a:bodyPr anchor="b"/>
          <a:lstStyle>
            <a:lvl1pPr marL="0" indent="0">
              <a:buNone/>
              <a:defRPr sz="5000">
                <a:solidFill>
                  <a:schemeClr val="tx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Tree>
    <p:extLst>
      <p:ext uri="{BB962C8B-B14F-4D97-AF65-F5344CB8AC3E}">
        <p14:creationId xmlns:p14="http://schemas.microsoft.com/office/powerpoint/2010/main" val="141059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8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800"/>
                                        <p:tgtEl>
                                          <p:spTgt spid="26"/>
                                        </p:tgtEl>
                                      </p:cBhvr>
                                    </p:animEffect>
                                  </p:childTnLst>
                                </p:cTn>
                              </p:par>
                              <p:par>
                                <p:cTn id="11" presetID="10" presetClass="entr" presetSubtype="0" fill="hold" grpId="0" nodeType="withEffect">
                                  <p:stCondLst>
                                    <p:cond delay="8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800"/>
                                        <p:tgtEl>
                                          <p:spTgt spid="22"/>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800"/>
                                        <p:tgtEl>
                                          <p:spTgt spid="25"/>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800"/>
                                        <p:tgtEl>
                                          <p:spTgt spid="20"/>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800"/>
                                        <p:tgtEl>
                                          <p:spTgt spid="21"/>
                                        </p:tgtEl>
                                      </p:cBhvr>
                                    </p:animEffect>
                                  </p:childTnLst>
                                </p:cTn>
                              </p:par>
                              <p:par>
                                <p:cTn id="23" presetID="10" presetClass="entr" presetSubtype="0" fill="hold" grpId="0" nodeType="withEffect">
                                  <p:stCondLst>
                                    <p:cond delay="120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800"/>
                                        <p:tgtEl>
                                          <p:spTgt spid="23"/>
                                        </p:tgtEl>
                                      </p:cBhvr>
                                    </p:animEffect>
                                  </p:childTnLst>
                                </p:cTn>
                              </p:par>
                              <p:par>
                                <p:cTn id="26" presetID="10" presetClass="entr" presetSubtype="0" fill="hold" grpId="0" nodeType="withEffect">
                                  <p:stCondLst>
                                    <p:cond delay="8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800"/>
                                        <p:tgtEl>
                                          <p:spTgt spid="16"/>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800"/>
                                        <p:tgtEl>
                                          <p:spTgt spid="19"/>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800"/>
                                        <p:tgtEl>
                                          <p:spTgt spid="13"/>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800"/>
                                        <p:tgtEl>
                                          <p:spTgt spid="18"/>
                                        </p:tgtEl>
                                      </p:cBhvr>
                                    </p:animEffect>
                                  </p:childTnLst>
                                </p:cTn>
                              </p:par>
                              <p:par>
                                <p:cTn id="38" presetID="10" presetClass="entr" presetSubtype="0" fill="hold" grpId="0" nodeType="withEffect">
                                  <p:stCondLst>
                                    <p:cond delay="2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8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800"/>
                                        <p:tgtEl>
                                          <p:spTgt spid="14"/>
                                        </p:tgtEl>
                                      </p:cBhvr>
                                    </p:animEffect>
                                  </p:childTnLst>
                                </p:cTn>
                              </p:par>
                              <p:par>
                                <p:cTn id="44" presetID="10" presetClass="entr" presetSubtype="0" fill="hold" grpId="0" nodeType="withEffect">
                                  <p:stCondLst>
                                    <p:cond delay="90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8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cstate="hqprint">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028943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cstate="hqprint">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Tree>
    <p:extLst>
      <p:ext uri="{BB962C8B-B14F-4D97-AF65-F5344CB8AC3E}">
        <p14:creationId xmlns:p14="http://schemas.microsoft.com/office/powerpoint/2010/main" val="7609684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224884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ubbles with title">
  <p:cSld name="1_Bubbles with title">
    <p:spTree>
      <p:nvGrpSpPr>
        <p:cNvPr id="1" name="Shape 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6A3577-EC50-C5A7-3EE1-039DEC83DC4E}"/>
              </a:ext>
            </a:extLst>
          </p:cNvPr>
          <p:cNvGraphicFramePr>
            <a:graphicFrameLocks noChangeAspect="1"/>
          </p:cNvGraphicFramePr>
          <p:nvPr userDrawn="1">
            <p:custDataLst>
              <p:tags r:id="rId1"/>
            </p:custDataLst>
            <p:extLst>
              <p:ext uri="{D42A27DB-BD31-4B8C-83A1-F6EECF244321}">
                <p14:modId xmlns:p14="http://schemas.microsoft.com/office/powerpoint/2010/main" val="182326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A6A3577-EC50-C5A7-3EE1-039DEC83D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11;p11" descr="Logo, company name&#10;&#10;Description automatically generated"/>
          <p:cNvPicPr preferRelativeResize="0"/>
          <p:nvPr/>
        </p:nvPicPr>
        <p:blipFill rotWithShape="1">
          <a:blip r:embed="rId5">
            <a:alphaModFix/>
          </a:blip>
          <a:srcRect/>
          <a:stretch/>
        </p:blipFill>
        <p:spPr>
          <a:xfrm>
            <a:off x="10166528" y="221803"/>
            <a:ext cx="1838245" cy="698851"/>
          </a:xfrm>
          <a:prstGeom prst="rect">
            <a:avLst/>
          </a:prstGeom>
          <a:noFill/>
          <a:ln>
            <a:noFill/>
          </a:ln>
        </p:spPr>
      </p:pic>
      <p:sp>
        <p:nvSpPr>
          <p:cNvPr id="12" name="Google Shape;12;p11"/>
          <p:cNvSpPr/>
          <p:nvPr/>
        </p:nvSpPr>
        <p:spPr>
          <a:xfrm>
            <a:off x="10213629" y="4225941"/>
            <a:ext cx="1410946" cy="1410946"/>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3" name="Google Shape;13;p11"/>
          <p:cNvSpPr/>
          <p:nvPr/>
        </p:nvSpPr>
        <p:spPr>
          <a:xfrm>
            <a:off x="10992856" y="6120469"/>
            <a:ext cx="2627495" cy="2627495"/>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4" name="Google Shape;14;p11"/>
          <p:cNvSpPr/>
          <p:nvPr/>
        </p:nvSpPr>
        <p:spPr>
          <a:xfrm>
            <a:off x="9581953" y="5785985"/>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15" name="Google Shape;15;p11"/>
          <p:cNvSpPr/>
          <p:nvPr/>
        </p:nvSpPr>
        <p:spPr>
          <a:xfrm>
            <a:off x="9139384" y="4598314"/>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6" name="Google Shape;16;p11"/>
          <p:cNvSpPr/>
          <p:nvPr/>
        </p:nvSpPr>
        <p:spPr>
          <a:xfrm>
            <a:off x="12040974" y="4841325"/>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7" name="Google Shape;17;p11"/>
          <p:cNvSpPr/>
          <p:nvPr/>
        </p:nvSpPr>
        <p:spPr>
          <a:xfrm>
            <a:off x="11386899" y="3221066"/>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8" name="Google Shape;18;p11"/>
          <p:cNvSpPr/>
          <p:nvPr/>
        </p:nvSpPr>
        <p:spPr>
          <a:xfrm>
            <a:off x="10101492" y="3581708"/>
            <a:ext cx="326231" cy="32618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9" name="Google Shape;19;p11"/>
          <p:cNvSpPr/>
          <p:nvPr/>
        </p:nvSpPr>
        <p:spPr>
          <a:xfrm>
            <a:off x="824618" y="1344421"/>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0" name="Google Shape;20;p11"/>
          <p:cNvSpPr/>
          <p:nvPr/>
        </p:nvSpPr>
        <p:spPr>
          <a:xfrm>
            <a:off x="-1082877" y="-1291957"/>
            <a:ext cx="2627495" cy="2627495"/>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1" name="Google Shape;21;p11"/>
          <p:cNvSpPr/>
          <p:nvPr/>
        </p:nvSpPr>
        <p:spPr>
          <a:xfrm>
            <a:off x="774206" y="2229942"/>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22" name="Google Shape;22;p11"/>
          <p:cNvSpPr/>
          <p:nvPr/>
        </p:nvSpPr>
        <p:spPr>
          <a:xfrm>
            <a:off x="1849700" y="-304979"/>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3" name="Google Shape;23;p11"/>
          <p:cNvSpPr/>
          <p:nvPr/>
        </p:nvSpPr>
        <p:spPr>
          <a:xfrm>
            <a:off x="1931262" y="907256"/>
            <a:ext cx="1463817" cy="146359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4" name="Google Shape;24;p11"/>
          <p:cNvSpPr/>
          <p:nvPr/>
        </p:nvSpPr>
        <p:spPr>
          <a:xfrm>
            <a:off x="-690862" y="1761272"/>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5" name="Google Shape;25;p11"/>
          <p:cNvSpPr/>
          <p:nvPr/>
        </p:nvSpPr>
        <p:spPr>
          <a:xfrm>
            <a:off x="2263805" y="2609839"/>
            <a:ext cx="326231" cy="326181"/>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6" name="Google Shape;26;p11"/>
          <p:cNvSpPr/>
          <p:nvPr/>
        </p:nvSpPr>
        <p:spPr>
          <a:xfrm>
            <a:off x="-573649" y="-1619368"/>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7" name="Google Shape;27;p11"/>
          <p:cNvSpPr/>
          <p:nvPr/>
        </p:nvSpPr>
        <p:spPr>
          <a:xfrm>
            <a:off x="-2297547" y="-1224501"/>
            <a:ext cx="2282024" cy="489438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8" name="Google Shape;28;p11"/>
          <p:cNvSpPr/>
          <p:nvPr/>
        </p:nvSpPr>
        <p:spPr>
          <a:xfrm>
            <a:off x="12203817" y="1367625"/>
            <a:ext cx="2282024" cy="7013050"/>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9" name="Google Shape;29;p11"/>
          <p:cNvSpPr/>
          <p:nvPr/>
        </p:nvSpPr>
        <p:spPr>
          <a:xfrm>
            <a:off x="-327159" y="6855730"/>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30" name="Google Shape;30;p11"/>
          <p:cNvSpPr txBox="1">
            <a:spLocks noGrp="1"/>
          </p:cNvSpPr>
          <p:nvPr>
            <p:ph type="body" idx="1"/>
          </p:nvPr>
        </p:nvSpPr>
        <p:spPr>
          <a:xfrm>
            <a:off x="902564" y="4321572"/>
            <a:ext cx="8471189" cy="1700081"/>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0000"/>
              </a:lnSpc>
              <a:spcBef>
                <a:spcPts val="1000"/>
              </a:spcBef>
              <a:spcAft>
                <a:spcPts val="0"/>
              </a:spcAft>
              <a:buClr>
                <a:schemeClr val="dk1"/>
              </a:buClr>
              <a:buSzPts val="5000"/>
              <a:buFont typeface="Arial"/>
              <a:buNone/>
              <a:defRPr sz="5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en-GB"/>
          </a:p>
        </p:txBody>
      </p:sp>
    </p:spTree>
    <p:extLst>
      <p:ext uri="{BB962C8B-B14F-4D97-AF65-F5344CB8AC3E}">
        <p14:creationId xmlns:p14="http://schemas.microsoft.com/office/powerpoint/2010/main" val="1050917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8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800"/>
                                        <p:tgtEl>
                                          <p:spTgt spid="25"/>
                                        </p:tgtEl>
                                      </p:cBhvr>
                                    </p:animEffect>
                                  </p:childTnLst>
                                </p:cTn>
                              </p:par>
                              <p:par>
                                <p:cTn id="11" presetID="10" presetClass="entr" presetSubtype="0" fill="hold"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800"/>
                                        <p:tgtEl>
                                          <p:spTgt spid="21"/>
                                        </p:tgtEl>
                                      </p:cBhvr>
                                    </p:animEffect>
                                  </p:childTnLst>
                                </p:cTn>
                              </p:par>
                              <p:par>
                                <p:cTn id="14" presetID="10" presetClass="entr" presetSubtype="0" fill="hold" nodeType="withEffect">
                                  <p:stCondLst>
                                    <p:cond delay="3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nodeType="withEffect">
                                  <p:stCondLst>
                                    <p:cond delay="8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800"/>
                                        <p:tgtEl>
                                          <p:spTgt spid="19"/>
                                        </p:tgtEl>
                                      </p:cBhvr>
                                    </p:animEffect>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800"/>
                                        <p:tgtEl>
                                          <p:spTgt spid="20"/>
                                        </p:tgtEl>
                                      </p:cBhvr>
                                    </p:animEffect>
                                  </p:childTnLst>
                                </p:cTn>
                              </p:par>
                              <p:par>
                                <p:cTn id="23" presetID="10" presetClass="entr" presetSubtype="0" fill="hold" nodeType="withEffect">
                                  <p:stCondLst>
                                    <p:cond delay="12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800"/>
                                        <p:tgtEl>
                                          <p:spTgt spid="22"/>
                                        </p:tgtEl>
                                      </p:cBhvr>
                                    </p:animEffect>
                                  </p:childTnLst>
                                </p:cTn>
                              </p:par>
                              <p:par>
                                <p:cTn id="26" presetID="10" presetClass="entr" presetSubtype="0" fill="hold" nodeType="withEffect">
                                  <p:stCondLst>
                                    <p:cond delay="8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800"/>
                                        <p:tgtEl>
                                          <p:spTgt spid="15"/>
                                        </p:tgtEl>
                                      </p:cBhvr>
                                    </p:animEffect>
                                  </p:childTnLst>
                                </p:cTn>
                              </p:par>
                              <p:par>
                                <p:cTn id="29" presetID="10" presetClass="entr" presetSubtype="0" fill="hold"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800"/>
                                        <p:tgtEl>
                                          <p:spTgt spid="18"/>
                                        </p:tgtEl>
                                      </p:cBhvr>
                                    </p:animEffect>
                                  </p:childTnLst>
                                </p:cTn>
                              </p:par>
                              <p:par>
                                <p:cTn id="32" presetID="10" presetClass="entr" presetSubtype="0" fill="hold" nodeType="withEffect">
                                  <p:stCondLst>
                                    <p:cond delay="3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800"/>
                                        <p:tgtEl>
                                          <p:spTgt spid="12"/>
                                        </p:tgtEl>
                                      </p:cBhvr>
                                    </p:animEffect>
                                  </p:childTnLst>
                                </p:cTn>
                              </p:par>
                              <p:par>
                                <p:cTn id="35" presetID="10" presetClass="entr" presetSubtype="0" fill="hold" nodeType="withEffect">
                                  <p:stCondLst>
                                    <p:cond delay="7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800"/>
                                        <p:tgtEl>
                                          <p:spTgt spid="17"/>
                                        </p:tgtEl>
                                      </p:cBhvr>
                                    </p:animEffect>
                                  </p:childTnLst>
                                </p:cTn>
                              </p:par>
                              <p:par>
                                <p:cTn id="38" presetID="10" presetClass="entr" presetSubtype="0" fill="hold" nodeType="withEffect">
                                  <p:stCondLst>
                                    <p:cond delay="2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8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800"/>
                                        <p:tgtEl>
                                          <p:spTgt spid="13"/>
                                        </p:tgtEl>
                                      </p:cBhvr>
                                    </p:animEffect>
                                  </p:childTnLst>
                                </p:cTn>
                              </p:par>
                              <p:par>
                                <p:cTn id="44" presetID="10" presetClass="entr" presetSubtype="0" fill="hold" nodeType="withEffect">
                                  <p:stCondLst>
                                    <p:cond delay="9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8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 Bullets/Bodytext" userDrawn="1">
  <p:cSld name="1_Title + Bullets/Bodytext">
    <p:spTree>
      <p:nvGrpSpPr>
        <p:cNvPr id="1" name="Shape 12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6323CD8-09E5-E936-C4A4-15F9AC3EADD9}"/>
              </a:ext>
            </a:extLst>
          </p:cNvPr>
          <p:cNvGraphicFramePr>
            <a:graphicFrameLocks noChangeAspect="1"/>
          </p:cNvGraphicFramePr>
          <p:nvPr userDrawn="1">
            <p:custDataLst>
              <p:tags r:id="rId1"/>
            </p:custDataLst>
            <p:extLst>
              <p:ext uri="{D42A27DB-BD31-4B8C-83A1-F6EECF244321}">
                <p14:modId xmlns:p14="http://schemas.microsoft.com/office/powerpoint/2010/main" val="7200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56323CD8-09E5-E936-C4A4-15F9AC3EAD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Google Shape;12;p11">
            <a:extLst>
              <a:ext uri="{FF2B5EF4-FFF2-40B4-BE49-F238E27FC236}">
                <a16:creationId xmlns:a16="http://schemas.microsoft.com/office/drawing/2014/main" id="{ABE0D9BC-7288-163C-9A60-7FB0D39824DF}"/>
              </a:ext>
            </a:extLst>
          </p:cNvPr>
          <p:cNvSpPr/>
          <p:nvPr userDrawn="1"/>
        </p:nvSpPr>
        <p:spPr>
          <a:xfrm>
            <a:off x="10213629" y="4225941"/>
            <a:ext cx="1410946" cy="1410946"/>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4" name="Google Shape;13;p11">
            <a:extLst>
              <a:ext uri="{FF2B5EF4-FFF2-40B4-BE49-F238E27FC236}">
                <a16:creationId xmlns:a16="http://schemas.microsoft.com/office/drawing/2014/main" id="{88D8A915-25A8-5B2E-024E-DD6BACD03280}"/>
              </a:ext>
            </a:extLst>
          </p:cNvPr>
          <p:cNvSpPr/>
          <p:nvPr userDrawn="1"/>
        </p:nvSpPr>
        <p:spPr>
          <a:xfrm>
            <a:off x="10992856" y="6120469"/>
            <a:ext cx="2627495" cy="2627495"/>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5" name="Google Shape;14;p11">
            <a:extLst>
              <a:ext uri="{FF2B5EF4-FFF2-40B4-BE49-F238E27FC236}">
                <a16:creationId xmlns:a16="http://schemas.microsoft.com/office/drawing/2014/main" id="{015ED02B-FF87-6401-02FC-7343200FC120}"/>
              </a:ext>
            </a:extLst>
          </p:cNvPr>
          <p:cNvSpPr/>
          <p:nvPr userDrawn="1"/>
        </p:nvSpPr>
        <p:spPr>
          <a:xfrm>
            <a:off x="9581953" y="5785985"/>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6" name="Google Shape;15;p11">
            <a:extLst>
              <a:ext uri="{FF2B5EF4-FFF2-40B4-BE49-F238E27FC236}">
                <a16:creationId xmlns:a16="http://schemas.microsoft.com/office/drawing/2014/main" id="{51C733BE-88EE-02DF-9E1A-001E54E20744}"/>
              </a:ext>
            </a:extLst>
          </p:cNvPr>
          <p:cNvSpPr/>
          <p:nvPr userDrawn="1"/>
        </p:nvSpPr>
        <p:spPr>
          <a:xfrm>
            <a:off x="9139384" y="4598314"/>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7" name="Google Shape;16;p11">
            <a:extLst>
              <a:ext uri="{FF2B5EF4-FFF2-40B4-BE49-F238E27FC236}">
                <a16:creationId xmlns:a16="http://schemas.microsoft.com/office/drawing/2014/main" id="{6F061841-857F-14C5-88DB-0AB540A963EE}"/>
              </a:ext>
            </a:extLst>
          </p:cNvPr>
          <p:cNvSpPr/>
          <p:nvPr userDrawn="1"/>
        </p:nvSpPr>
        <p:spPr>
          <a:xfrm>
            <a:off x="12040974" y="4841325"/>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8" name="Google Shape;17;p11">
            <a:extLst>
              <a:ext uri="{FF2B5EF4-FFF2-40B4-BE49-F238E27FC236}">
                <a16:creationId xmlns:a16="http://schemas.microsoft.com/office/drawing/2014/main" id="{24866DA4-06EF-5404-35F6-8F13A2732A17}"/>
              </a:ext>
            </a:extLst>
          </p:cNvPr>
          <p:cNvSpPr/>
          <p:nvPr userDrawn="1"/>
        </p:nvSpPr>
        <p:spPr>
          <a:xfrm>
            <a:off x="11386899" y="3221066"/>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9" name="Google Shape;18;p11">
            <a:extLst>
              <a:ext uri="{FF2B5EF4-FFF2-40B4-BE49-F238E27FC236}">
                <a16:creationId xmlns:a16="http://schemas.microsoft.com/office/drawing/2014/main" id="{51DC86F0-C83B-3BA2-D76A-EF841F0B2021}"/>
              </a:ext>
            </a:extLst>
          </p:cNvPr>
          <p:cNvSpPr/>
          <p:nvPr userDrawn="1"/>
        </p:nvSpPr>
        <p:spPr>
          <a:xfrm>
            <a:off x="10101492" y="3581708"/>
            <a:ext cx="326231" cy="32618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0" name="Google Shape;28;p11">
            <a:extLst>
              <a:ext uri="{FF2B5EF4-FFF2-40B4-BE49-F238E27FC236}">
                <a16:creationId xmlns:a16="http://schemas.microsoft.com/office/drawing/2014/main" id="{69C32C33-0BC4-B722-06C5-84F2EA644247}"/>
              </a:ext>
            </a:extLst>
          </p:cNvPr>
          <p:cNvSpPr/>
          <p:nvPr userDrawn="1"/>
        </p:nvSpPr>
        <p:spPr>
          <a:xfrm>
            <a:off x="12189069" y="1334800"/>
            <a:ext cx="2282024" cy="7013050"/>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1" name="Google Shape;29;p11">
            <a:extLst>
              <a:ext uri="{FF2B5EF4-FFF2-40B4-BE49-F238E27FC236}">
                <a16:creationId xmlns:a16="http://schemas.microsoft.com/office/drawing/2014/main" id="{81DF1F3B-4B67-96EC-49CF-4AB67F88EED3}"/>
              </a:ext>
            </a:extLst>
          </p:cNvPr>
          <p:cNvSpPr/>
          <p:nvPr userDrawn="1"/>
        </p:nvSpPr>
        <p:spPr>
          <a:xfrm>
            <a:off x="-341907" y="6822905"/>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24" name="Google Shape;124;p17"/>
          <p:cNvSpPr/>
          <p:nvPr/>
        </p:nvSpPr>
        <p:spPr>
          <a:xfrm>
            <a:off x="0" y="-1"/>
            <a:ext cx="113354" cy="6858001"/>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a:solidFill>
                <a:schemeClr val="dk2"/>
              </a:solidFill>
              <a:latin typeface="Calibri"/>
              <a:ea typeface="Calibri"/>
              <a:cs typeface="Calibri"/>
              <a:sym typeface="Calibri"/>
            </a:endParaRPr>
          </a:p>
        </p:txBody>
      </p:sp>
      <p:pic>
        <p:nvPicPr>
          <p:cNvPr id="125" name="Google Shape;125;p17" descr="Icon&#10;&#10;Description automatically generated"/>
          <p:cNvPicPr preferRelativeResize="0"/>
          <p:nvPr/>
        </p:nvPicPr>
        <p:blipFill rotWithShape="1">
          <a:blip r:embed="rId5">
            <a:alphaModFix/>
          </a:blip>
          <a:srcRect l="16372" t="16273" r="16444" b="16219"/>
          <a:stretch/>
        </p:blipFill>
        <p:spPr>
          <a:xfrm>
            <a:off x="11540050" y="224363"/>
            <a:ext cx="410399" cy="412365"/>
          </a:xfrm>
          <a:prstGeom prst="rect">
            <a:avLst/>
          </a:prstGeom>
          <a:noFill/>
          <a:ln>
            <a:noFill/>
          </a:ln>
          <a:effectLst>
            <a:outerShdw dist="4923" sx="1000" sy="1000" algn="ctr" rotWithShape="0">
              <a:srgbClr val="000000"/>
            </a:outerShdw>
          </a:effectLst>
        </p:spPr>
      </p:pic>
      <p:sp>
        <p:nvSpPr>
          <p:cNvPr id="126" name="Google Shape;126;p17"/>
          <p:cNvSpPr txBox="1">
            <a:spLocks noGrp="1"/>
          </p:cNvSpPr>
          <p:nvPr>
            <p:ph type="body" idx="3"/>
          </p:nvPr>
        </p:nvSpPr>
        <p:spPr>
          <a:xfrm>
            <a:off x="959977" y="2072789"/>
            <a:ext cx="10125075" cy="4011613"/>
          </a:xfrm>
          <a:prstGeom prst="rect">
            <a:avLst/>
          </a:prstGeom>
          <a:noFill/>
          <a:ln>
            <a:noFill/>
          </a:ln>
        </p:spPr>
        <p:txBody>
          <a:bodyPr spcFirstLastPara="1" wrap="square" lIns="91425" tIns="45700" rIns="91425" bIns="45700" anchor="t" anchorCtr="0">
            <a:noAutofit/>
          </a:bodyPr>
          <a:lstStyle>
            <a:lvl1pPr marL="457200" marR="0" lvl="0" indent="-335280" algn="l" rtl="0">
              <a:lnSpc>
                <a:spcPct val="90000"/>
              </a:lnSpc>
              <a:spcBef>
                <a:spcPts val="1000"/>
              </a:spcBef>
              <a:spcAft>
                <a:spcPts val="0"/>
              </a:spcAft>
              <a:buClr>
                <a:schemeClr val="dk2"/>
              </a:buClr>
              <a:buSzPts val="1680"/>
              <a:buFont typeface="Arial"/>
              <a:buChar char="•"/>
              <a:defRPr sz="2100" b="0" i="0" u="none" strike="noStrike" cap="none">
                <a:solidFill>
                  <a:schemeClr val="dk1"/>
                </a:solidFill>
                <a:latin typeface="Arial"/>
                <a:ea typeface="Arial"/>
                <a:cs typeface="Arial"/>
                <a:sym typeface="Arial"/>
              </a:defRPr>
            </a:lvl1pPr>
            <a:lvl2pPr marL="914400" marR="0" lvl="1" indent="-335280" algn="l" rtl="0">
              <a:lnSpc>
                <a:spcPct val="90000"/>
              </a:lnSpc>
              <a:spcBef>
                <a:spcPts val="500"/>
              </a:spcBef>
              <a:spcAft>
                <a:spcPts val="0"/>
              </a:spcAft>
              <a:buClr>
                <a:schemeClr val="dk2"/>
              </a:buClr>
              <a:buSzPts val="1680"/>
              <a:buFont typeface="Arial"/>
              <a:buChar char="•"/>
              <a:defRPr sz="21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3pPr>
            <a:lvl4pPr marL="1828800" marR="0" lvl="3" indent="-320039" algn="l" rtl="0">
              <a:lnSpc>
                <a:spcPct val="90000"/>
              </a:lnSpc>
              <a:spcBef>
                <a:spcPts val="500"/>
              </a:spcBef>
              <a:spcAft>
                <a:spcPts val="0"/>
              </a:spcAft>
              <a:buClr>
                <a:schemeClr val="dk2"/>
              </a:buClr>
              <a:buSzPts val="1440"/>
              <a:buFont typeface="Arial"/>
              <a:buChar char="•"/>
              <a:defRPr sz="1800" b="0" i="0" u="none" strike="noStrike" cap="none">
                <a:solidFill>
                  <a:schemeClr val="dk1"/>
                </a:solidFill>
                <a:latin typeface="Arial"/>
                <a:ea typeface="Arial"/>
                <a:cs typeface="Arial"/>
                <a:sym typeface="Arial"/>
              </a:defRPr>
            </a:lvl4pPr>
            <a:lvl5pPr marL="2286000" marR="0" lvl="4" indent="-320039" algn="l" rtl="0">
              <a:lnSpc>
                <a:spcPct val="90000"/>
              </a:lnSpc>
              <a:spcBef>
                <a:spcPts val="500"/>
              </a:spcBef>
              <a:spcAft>
                <a:spcPts val="0"/>
              </a:spcAft>
              <a:buClr>
                <a:schemeClr val="dk2"/>
              </a:buClr>
              <a:buSzPts val="144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en-GB"/>
          </a:p>
        </p:txBody>
      </p:sp>
      <p:sp>
        <p:nvSpPr>
          <p:cNvPr id="12" name="Title 5">
            <a:extLst>
              <a:ext uri="{FF2B5EF4-FFF2-40B4-BE49-F238E27FC236}">
                <a16:creationId xmlns:a16="http://schemas.microsoft.com/office/drawing/2014/main" id="{578F3A54-F178-7A16-601E-DBA9CD42F962}"/>
              </a:ext>
            </a:extLst>
          </p:cNvPr>
          <p:cNvSpPr>
            <a:spLocks noGrp="1"/>
          </p:cNvSpPr>
          <p:nvPr>
            <p:ph type="title"/>
          </p:nvPr>
        </p:nvSpPr>
        <p:spPr>
          <a:xfrm>
            <a:off x="587375" y="492597"/>
            <a:ext cx="10980737" cy="649322"/>
          </a:xfrm>
          <a:prstGeom prst="rect">
            <a:avLst/>
          </a:prstGeom>
        </p:spPr>
        <p:txBody>
          <a:bodyPr vert="horz" anchor="b"/>
          <a:lstStyle>
            <a:lvl1pPr rtl="0">
              <a:defRPr sz="2200" b="1"/>
            </a:lvl1pPr>
          </a:lstStyle>
          <a:p>
            <a:endParaRPr lang="en-GB" b="0"/>
          </a:p>
        </p:txBody>
      </p:sp>
      <p:sp>
        <p:nvSpPr>
          <p:cNvPr id="13" name="Content Placeholder 3">
            <a:extLst>
              <a:ext uri="{FF2B5EF4-FFF2-40B4-BE49-F238E27FC236}">
                <a16:creationId xmlns:a16="http://schemas.microsoft.com/office/drawing/2014/main" id="{007284D7-6CF8-449A-4588-2DF87217FC72}"/>
              </a:ext>
            </a:extLst>
          </p:cNvPr>
          <p:cNvSpPr>
            <a:spLocks noGrp="1"/>
          </p:cNvSpPr>
          <p:nvPr>
            <p:ph sz="quarter" idx="25"/>
          </p:nvPr>
        </p:nvSpPr>
        <p:spPr>
          <a:xfrm>
            <a:off x="588220" y="56898"/>
            <a:ext cx="10956492" cy="226714"/>
          </a:xfrm>
          <a:prstGeom prst="rect">
            <a:avLst/>
          </a:prstGeom>
        </p:spPr>
        <p:txBody>
          <a:bodyPr/>
          <a:lstStyle>
            <a:lvl1pPr rtl="0">
              <a:defRPr sz="1200"/>
            </a:lvl1pPr>
          </a:lstStyle>
          <a:p>
            <a:endParaRPr lang="en-GB"/>
          </a:p>
        </p:txBody>
      </p:sp>
      <p:sp>
        <p:nvSpPr>
          <p:cNvPr id="51" name="Content Placeholder 50">
            <a:extLst>
              <a:ext uri="{FF2B5EF4-FFF2-40B4-BE49-F238E27FC236}">
                <a16:creationId xmlns:a16="http://schemas.microsoft.com/office/drawing/2014/main" id="{DA47D082-21DD-4488-2893-1779DC449D2D}"/>
              </a:ext>
            </a:extLst>
          </p:cNvPr>
          <p:cNvSpPr>
            <a:spLocks noGrp="1"/>
          </p:cNvSpPr>
          <p:nvPr>
            <p:ph sz="quarter" idx="26" hasCustomPrompt="1"/>
          </p:nvPr>
        </p:nvSpPr>
        <p:spPr>
          <a:xfrm>
            <a:off x="774245" y="1581915"/>
            <a:ext cx="10612654" cy="411255"/>
          </a:xfrm>
          <a:prstGeom prst="rect">
            <a:avLst/>
          </a:prstGeom>
        </p:spPr>
        <p:txBody>
          <a:bodyPr anchor="b"/>
          <a:lstStyle>
            <a:lvl1pPr rtl="0">
              <a:defRPr sz="1200" b="1"/>
            </a:lvl1pPr>
            <a:lvl5pPr>
              <a:defRPr/>
            </a:lvl5pPr>
          </a:lstStyle>
          <a:p>
            <a:pPr lvl="0"/>
            <a:r>
              <a:rPr lang="en-GB" err="1"/>
              <a:t>Underoverskrift</a:t>
            </a:r>
            <a:endParaRPr lang="en-GB"/>
          </a:p>
        </p:txBody>
      </p:sp>
      <p:sp>
        <p:nvSpPr>
          <p:cNvPr id="53" name="Content Placeholder 52">
            <a:extLst>
              <a:ext uri="{FF2B5EF4-FFF2-40B4-BE49-F238E27FC236}">
                <a16:creationId xmlns:a16="http://schemas.microsoft.com/office/drawing/2014/main" id="{E2D71524-E1F0-F2B4-2B2F-65F42933A8B8}"/>
              </a:ext>
            </a:extLst>
          </p:cNvPr>
          <p:cNvSpPr>
            <a:spLocks noGrp="1"/>
          </p:cNvSpPr>
          <p:nvPr>
            <p:ph sz="quarter" idx="27" hasCustomPrompt="1"/>
          </p:nvPr>
        </p:nvSpPr>
        <p:spPr>
          <a:xfrm>
            <a:off x="587376" y="6375400"/>
            <a:ext cx="9626600" cy="304800"/>
          </a:xfrm>
          <a:prstGeom prst="rect">
            <a:avLst/>
          </a:prstGeom>
        </p:spPr>
        <p:txBody>
          <a:bodyPr anchor="ctr"/>
          <a:lstStyle>
            <a:lvl1pPr marL="342900" indent="-342900" rtl="0">
              <a:buFont typeface="+mj-lt"/>
              <a:buAutoNum type="arabicParenR"/>
              <a:defRPr sz="800"/>
            </a:lvl1pPr>
          </a:lstStyle>
          <a:p>
            <a:pPr lvl="0"/>
            <a:r>
              <a:rPr lang="en-GB" sz="800" err="1"/>
              <a:t>Fotnote</a:t>
            </a:r>
            <a:r>
              <a:rPr lang="en-GB" sz="800"/>
              <a:t>’</a:t>
            </a:r>
            <a:endParaRPr lang="en-GB"/>
          </a:p>
        </p:txBody>
      </p:sp>
    </p:spTree>
    <p:extLst>
      <p:ext uri="{BB962C8B-B14F-4D97-AF65-F5344CB8AC3E}">
        <p14:creationId xmlns:p14="http://schemas.microsoft.com/office/powerpoint/2010/main" val="3573515788"/>
      </p:ext>
    </p:extLst>
  </p:cSld>
  <p:clrMapOvr>
    <a:masterClrMapping/>
  </p:clrMapOvr>
  <p:extLst>
    <p:ext uri="{DCECCB84-F9BA-43D5-87BE-67443E8EF086}">
      <p15:sldGuideLst xmlns:p15="http://schemas.microsoft.com/office/powerpoint/2012/main">
        <p15:guide id="2" orient="horz" pos="958">
          <p15:clr>
            <a:srgbClr val="FBAE40"/>
          </p15:clr>
        </p15:guide>
        <p15:guide id="3" pos="7287">
          <p15:clr>
            <a:srgbClr val="FBAE40"/>
          </p15:clr>
        </p15:guide>
        <p15:guide id="4" pos="370">
          <p15:clr>
            <a:srgbClr val="FBAE40"/>
          </p15:clr>
        </p15:guide>
        <p15:guide id="5" orient="horz" pos="2160">
          <p15:clr>
            <a:srgbClr val="FBAE40"/>
          </p15:clr>
        </p15:guide>
        <p15:guide id="7" pos="3940">
          <p15:clr>
            <a:srgbClr val="FBAE40"/>
          </p15:clr>
        </p15:guide>
        <p15:guide id="8" orient="horz" pos="39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7"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3"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sp>
        <p:nvSpPr>
          <p:cNvPr id="14" name="Inhaltsplatzhalter 4"/>
          <p:cNvSpPr>
            <a:spLocks noGrp="1"/>
          </p:cNvSpPr>
          <p:nvPr>
            <p:ph sz="quarter" idx="21"/>
          </p:nvPr>
        </p:nvSpPr>
        <p:spPr>
          <a:xfrm>
            <a:off x="4409624"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44096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sp>
        <p:nvSpPr>
          <p:cNvPr id="16" name="Inhaltsplatzhalter 4"/>
          <p:cNvSpPr>
            <a:spLocks noGrp="1"/>
          </p:cNvSpPr>
          <p:nvPr>
            <p:ph sz="quarter" idx="23"/>
          </p:nvPr>
        </p:nvSpPr>
        <p:spPr>
          <a:xfrm>
            <a:off x="8112224"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Textplatzhalter 3"/>
          <p:cNvSpPr>
            <a:spLocks noGrp="1"/>
          </p:cNvSpPr>
          <p:nvPr>
            <p:ph type="body" sz="quarter" idx="24"/>
          </p:nvPr>
        </p:nvSpPr>
        <p:spPr>
          <a:xfrm>
            <a:off x="81122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pic>
        <p:nvPicPr>
          <p:cNvPr id="18"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3.03.2023</a:t>
            </a:r>
            <a:endParaRPr lang="de-DE" dirty="0"/>
          </a:p>
        </p:txBody>
      </p:sp>
      <p:sp>
        <p:nvSpPr>
          <p:cNvPr id="20" name="Fußzeilenplatzhalter 14"/>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EBP Struktur &amp; Rollen 2023</a:t>
            </a:r>
            <a:endParaRPr lang="de-DE" dirty="0"/>
          </a:p>
        </p:txBody>
      </p:sp>
      <p:sp>
        <p:nvSpPr>
          <p:cNvPr id="21"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3" name="Rechteck 22"/>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4"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5570380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Rechteck 3"/>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5" name="Rechteck 4"/>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7"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9" name="Inhaltsplatzhalter 4"/>
          <p:cNvSpPr>
            <a:spLocks noGrp="1"/>
          </p:cNvSpPr>
          <p:nvPr>
            <p:ph sz="quarter" idx="15"/>
          </p:nvPr>
        </p:nvSpPr>
        <p:spPr>
          <a:xfrm>
            <a:off x="719667" y="1628775"/>
            <a:ext cx="10752667" cy="453677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3.03.2023</a:t>
            </a:r>
            <a:endParaRPr lang="de-DE" dirty="0"/>
          </a:p>
        </p:txBody>
      </p:sp>
      <p:sp>
        <p:nvSpPr>
          <p:cNvPr id="9"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EBP Struktur &amp; Rollen 2023</a:t>
            </a:r>
            <a:endParaRPr lang="de-DE" dirty="0"/>
          </a:p>
        </p:txBody>
      </p:sp>
      <p:sp>
        <p:nvSpPr>
          <p:cNvPr id="10"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dirty="0"/>
          </a:p>
        </p:txBody>
      </p:sp>
      <p:sp>
        <p:nvSpPr>
          <p:cNvPr id="11" name="Rechteck 10"/>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3"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1022383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8" y="1988840"/>
            <a:ext cx="10752667" cy="417701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5" y="1629138"/>
            <a:ext cx="1075264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pic>
        <p:nvPicPr>
          <p:cNvPr id="14"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3.03.2023</a:t>
            </a:r>
            <a:endParaRPr lang="de-DE" dirty="0"/>
          </a:p>
        </p:txBody>
      </p:sp>
      <p:sp>
        <p:nvSpPr>
          <p:cNvPr id="16" name="Fußzeilenplatzhalter 14"/>
          <p:cNvSpPr>
            <a:spLocks noGrp="1"/>
          </p:cNvSpPr>
          <p:nvPr>
            <p:ph type="ftr" sz="quarter" idx="18"/>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EBP Struktur &amp; Rollen 2023</a:t>
            </a:r>
            <a:endParaRPr lang="de-DE" dirty="0"/>
          </a:p>
        </p:txBody>
      </p:sp>
      <p:sp>
        <p:nvSpPr>
          <p:cNvPr id="17" name="Foliennummernplatzhalter 15"/>
          <p:cNvSpPr>
            <a:spLocks noGrp="1"/>
          </p:cNvSpPr>
          <p:nvPr>
            <p:ph type="sldNum" sz="quarter" idx="19"/>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8" name="Rechteck 17"/>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0" name="Textplatzhalter 2"/>
          <p:cNvSpPr>
            <a:spLocks noGrp="1"/>
          </p:cNvSpPr>
          <p:nvPr>
            <p:ph type="body" sz="quarter" idx="20"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2883276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61540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638062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23" name="Plassholder for tekst 5">
            <a:extLst>
              <a:ext uri="{FF2B5EF4-FFF2-40B4-BE49-F238E27FC236}">
                <a16:creationId xmlns:a16="http://schemas.microsoft.com/office/drawing/2014/main" id="{95762A28-1FF6-6C25-FB79-F0AF55DE9B3C}"/>
              </a:ext>
            </a:extLst>
          </p:cNvPr>
          <p:cNvSpPr>
            <a:spLocks noGrp="1"/>
          </p:cNvSpPr>
          <p:nvPr>
            <p:ph type="body" sz="quarter" idx="16" hasCustomPrompt="1"/>
          </p:nvPr>
        </p:nvSpPr>
        <p:spPr>
          <a:xfrm>
            <a:off x="959978" y="2072789"/>
            <a:ext cx="6032494"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83895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fade">
                                      <p:cBhvr>
                                        <p:cTn id="11" dur="500"/>
                                        <p:tgtEl>
                                          <p:spTgt spid="2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3">
                                            <p:txEl>
                                              <p:pRg st="1" end="1"/>
                                            </p:txEl>
                                          </p:spTgt>
                                        </p:tgtEl>
                                        <p:attrNameLst>
                                          <p:attrName>style.visibility</p:attrName>
                                        </p:attrNameLst>
                                      </p:cBhvr>
                                      <p:to>
                                        <p:strVal val="visible"/>
                                      </p:to>
                                    </p:set>
                                    <p:animEffect transition="in" filter="fade">
                                      <p:cBhvr>
                                        <p:cTn id="15" dur="500"/>
                                        <p:tgtEl>
                                          <p:spTgt spid="2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3">
                                            <p:txEl>
                                              <p:pRg st="2" end="2"/>
                                            </p:txEl>
                                          </p:spTgt>
                                        </p:tgtEl>
                                        <p:attrNameLst>
                                          <p:attrName>style.visibility</p:attrName>
                                        </p:attrNameLst>
                                      </p:cBhvr>
                                      <p:to>
                                        <p:strVal val="visible"/>
                                      </p:to>
                                    </p:set>
                                    <p:animEffect transition="in" filter="fade">
                                      <p:cBhvr>
                                        <p:cTn id="19" dur="500"/>
                                        <p:tgtEl>
                                          <p:spTgt spid="2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23" grpId="0" build="p">
        <p:tmplLst>
          <p:tmpl lvl="1">
            <p:tnLst>
              <p:par>
                <p:cTn presetID="10"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bbles with logo">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126" y="5617018"/>
            <a:ext cx="3264254" cy="1240982"/>
          </a:xfrm>
          <a:prstGeom prst="rect">
            <a:avLst/>
          </a:prstGeom>
        </p:spPr>
      </p:pic>
      <p:sp>
        <p:nvSpPr>
          <p:cNvPr id="20" name="Ellipse 19">
            <a:extLst>
              <a:ext uri="{FF2B5EF4-FFF2-40B4-BE49-F238E27FC236}">
                <a16:creationId xmlns:a16="http://schemas.microsoft.com/office/drawing/2014/main" id="{5E144B33-9B63-A459-2EAD-A7449C2C3BA5}"/>
              </a:ext>
            </a:extLst>
          </p:cNvPr>
          <p:cNvSpPr/>
          <p:nvPr userDrawn="1"/>
        </p:nvSpPr>
        <p:spPr>
          <a:xfrm>
            <a:off x="2609532" y="1049581"/>
            <a:ext cx="709531" cy="709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3644449" y="348928"/>
            <a:ext cx="2691616" cy="26916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836059" y="-418281"/>
            <a:ext cx="1675737" cy="16757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6661451" y="-768569"/>
            <a:ext cx="2376311" cy="23763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9390596" y="-1619326"/>
            <a:ext cx="3239152" cy="32386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2837182" y="-523835"/>
            <a:ext cx="1207735" cy="1207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127416" y="1843265"/>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Ellipse 1">
            <a:extLst>
              <a:ext uri="{FF2B5EF4-FFF2-40B4-BE49-F238E27FC236}">
                <a16:creationId xmlns:a16="http://schemas.microsoft.com/office/drawing/2014/main" id="{4046C679-3B94-7727-F549-4209F6584658}"/>
              </a:ext>
            </a:extLst>
          </p:cNvPr>
          <p:cNvSpPr/>
          <p:nvPr userDrawn="1"/>
        </p:nvSpPr>
        <p:spPr>
          <a:xfrm>
            <a:off x="6661451" y="1759002"/>
            <a:ext cx="1038274" cy="10382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4" name="Ellipse 3">
            <a:extLst>
              <a:ext uri="{FF2B5EF4-FFF2-40B4-BE49-F238E27FC236}">
                <a16:creationId xmlns:a16="http://schemas.microsoft.com/office/drawing/2014/main" id="{154EB492-F02F-EAB9-93BA-AD9CD6CCB75D}"/>
              </a:ext>
            </a:extLst>
          </p:cNvPr>
          <p:cNvSpPr/>
          <p:nvPr userDrawn="1"/>
        </p:nvSpPr>
        <p:spPr>
          <a:xfrm>
            <a:off x="10907204" y="2006355"/>
            <a:ext cx="1793680" cy="1793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Ellipse 4">
            <a:extLst>
              <a:ext uri="{FF2B5EF4-FFF2-40B4-BE49-F238E27FC236}">
                <a16:creationId xmlns:a16="http://schemas.microsoft.com/office/drawing/2014/main" id="{31004F8D-E44B-4D8F-50D3-D4B30F73B33B}"/>
              </a:ext>
            </a:extLst>
          </p:cNvPr>
          <p:cNvSpPr/>
          <p:nvPr userDrawn="1"/>
        </p:nvSpPr>
        <p:spPr>
          <a:xfrm>
            <a:off x="8232547" y="1759002"/>
            <a:ext cx="1550358" cy="15501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ABA7DEF6-F72E-5A51-87FC-96B55C838805}"/>
              </a:ext>
            </a:extLst>
          </p:cNvPr>
          <p:cNvSpPr/>
          <p:nvPr userDrawn="1"/>
        </p:nvSpPr>
        <p:spPr>
          <a:xfrm>
            <a:off x="10064584" y="1759002"/>
            <a:ext cx="606066" cy="6060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Friform 39">
            <a:extLst>
              <a:ext uri="{FF2B5EF4-FFF2-40B4-BE49-F238E27FC236}">
                <a16:creationId xmlns:a16="http://schemas.microsoft.com/office/drawing/2014/main" id="{86EF08E2-1944-7428-50D4-5B7E5232EF63}"/>
              </a:ext>
            </a:extLst>
          </p:cNvPr>
          <p:cNvSpPr/>
          <p:nvPr userDrawn="1"/>
        </p:nvSpPr>
        <p:spPr>
          <a:xfrm>
            <a:off x="0" y="1049580"/>
            <a:ext cx="1380578" cy="2379420"/>
          </a:xfrm>
          <a:custGeom>
            <a:avLst/>
            <a:gdLst>
              <a:gd name="connsiteX0" fmla="*/ 190685 w 1380578"/>
              <a:gd name="connsiteY0" fmla="*/ 0 h 2379420"/>
              <a:gd name="connsiteX1" fmla="*/ 1380578 w 1380578"/>
              <a:gd name="connsiteY1" fmla="*/ 1189710 h 2379420"/>
              <a:gd name="connsiteX2" fmla="*/ 190685 w 1380578"/>
              <a:gd name="connsiteY2" fmla="*/ 2379420 h 2379420"/>
              <a:gd name="connsiteX3" fmla="*/ 69025 w 1380578"/>
              <a:gd name="connsiteY3" fmla="*/ 2373278 h 2379420"/>
              <a:gd name="connsiteX4" fmla="*/ 0 w 1380578"/>
              <a:gd name="connsiteY4" fmla="*/ 2362745 h 2379420"/>
              <a:gd name="connsiteX5" fmla="*/ 0 w 1380578"/>
              <a:gd name="connsiteY5" fmla="*/ 16675 h 2379420"/>
              <a:gd name="connsiteX6" fmla="*/ 69025 w 1380578"/>
              <a:gd name="connsiteY6" fmla="*/ 6142 h 2379420"/>
              <a:gd name="connsiteX7" fmla="*/ 190685 w 1380578"/>
              <a:gd name="connsiteY7" fmla="*/ 0 h 237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78" h="2379420">
                <a:moveTo>
                  <a:pt x="190685" y="0"/>
                </a:moveTo>
                <a:cubicBezTo>
                  <a:pt x="847845" y="0"/>
                  <a:pt x="1380578" y="532651"/>
                  <a:pt x="1380578" y="1189710"/>
                </a:cubicBezTo>
                <a:cubicBezTo>
                  <a:pt x="1380578" y="1846769"/>
                  <a:pt x="847845" y="2379420"/>
                  <a:pt x="190685" y="2379420"/>
                </a:cubicBezTo>
                <a:cubicBezTo>
                  <a:pt x="149613" y="2379420"/>
                  <a:pt x="109026" y="2377339"/>
                  <a:pt x="69025" y="2373278"/>
                </a:cubicBezTo>
                <a:lnTo>
                  <a:pt x="0" y="2362745"/>
                </a:lnTo>
                <a:lnTo>
                  <a:pt x="0" y="16675"/>
                </a:lnTo>
                <a:lnTo>
                  <a:pt x="69025" y="6142"/>
                </a:lnTo>
                <a:cubicBezTo>
                  <a:pt x="109026" y="2081"/>
                  <a:pt x="149613" y="0"/>
                  <a:pt x="190685"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43" name="Rektangel 42">
            <a:extLst>
              <a:ext uri="{FF2B5EF4-FFF2-40B4-BE49-F238E27FC236}">
                <a16:creationId xmlns:a16="http://schemas.microsoft.com/office/drawing/2014/main" id="{A8638787-4EA9-349C-BD62-5B23425E9EDD}"/>
              </a:ext>
            </a:extLst>
          </p:cNvPr>
          <p:cNvSpPr/>
          <p:nvPr userDrawn="1"/>
        </p:nvSpPr>
        <p:spPr>
          <a:xfrm>
            <a:off x="-572494" y="-164984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ktangel 43">
            <a:extLst>
              <a:ext uri="{FF2B5EF4-FFF2-40B4-BE49-F238E27FC236}">
                <a16:creationId xmlns:a16="http://schemas.microsoft.com/office/drawing/2014/main" id="{30D2F3A5-7AEC-3BEF-98F1-C802730FEE52}"/>
              </a:ext>
            </a:extLst>
          </p:cNvPr>
          <p:cNvSpPr/>
          <p:nvPr userDrawn="1"/>
        </p:nvSpPr>
        <p:spPr>
          <a:xfrm>
            <a:off x="12197301" y="-333955"/>
            <a:ext cx="2282024" cy="44540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18062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80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8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800"/>
                                        <p:tgtEl>
                                          <p:spTgt spid="2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800"/>
                                        <p:tgtEl>
                                          <p:spTgt spid="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800"/>
                                        <p:tgtEl>
                                          <p:spTgt spid="26"/>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800"/>
                                        <p:tgtEl>
                                          <p:spTgt spid="2"/>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800"/>
                                        <p:tgtEl>
                                          <p:spTgt spid="6"/>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800"/>
                                        <p:tgtEl>
                                          <p:spTgt spid="4"/>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800"/>
                                        <p:tgtEl>
                                          <p:spTgt spid="25"/>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800"/>
                                        <p:tgtEl>
                                          <p:spTgt spid="22"/>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8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 grpId="0" animBg="1"/>
      <p:bldP spid="4" grpId="0" animBg="1"/>
      <p:bldP spid="5" grpId="0" animBg="1"/>
      <p:bldP spid="6" grpId="0" animBg="1"/>
      <p:bldP spid="40"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33112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x 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Plassholder for bilde 7">
            <a:extLst>
              <a:ext uri="{FF2B5EF4-FFF2-40B4-BE49-F238E27FC236}">
                <a16:creationId xmlns:a16="http://schemas.microsoft.com/office/drawing/2014/main" id="{047B8122-8719-0A6D-0E9B-0BD93019A832}"/>
              </a:ext>
            </a:extLst>
          </p:cNvPr>
          <p:cNvSpPr>
            <a:spLocks noGrp="1"/>
          </p:cNvSpPr>
          <p:nvPr>
            <p:ph type="pic" sz="quarter" idx="17"/>
          </p:nvPr>
        </p:nvSpPr>
        <p:spPr>
          <a:xfrm>
            <a:off x="0" y="0"/>
            <a:ext cx="4876800" cy="3429000"/>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63A9C5F-FCAC-3F21-93DA-B210C2DA5E78}"/>
              </a:ext>
            </a:extLst>
          </p:cNvPr>
          <p:cNvSpPr>
            <a:spLocks noGrp="1"/>
          </p:cNvSpPr>
          <p:nvPr>
            <p:ph type="pic" sz="quarter" idx="18"/>
          </p:nvPr>
        </p:nvSpPr>
        <p:spPr>
          <a:xfrm>
            <a:off x="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555961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x 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3429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4D584395-C35C-604C-9DC5-11DB394F088D}"/>
              </a:ext>
            </a:extLst>
          </p:cNvPr>
          <p:cNvSpPr>
            <a:spLocks noGrp="1"/>
          </p:cNvSpPr>
          <p:nvPr>
            <p:ph type="pic" sz="quarter" idx="17"/>
          </p:nvPr>
        </p:nvSpPr>
        <p:spPr>
          <a:xfrm>
            <a:off x="731520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229280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19655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 bullets + 3 bubble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8" name="Picture 4" descr="Icon&#10;&#10;Description automatically generated">
            <a:extLst>
              <a:ext uri="{FF2B5EF4-FFF2-40B4-BE49-F238E27FC236}">
                <a16:creationId xmlns:a16="http://schemas.microsoft.com/office/drawing/2014/main" id="{2C58B7FF-12FE-EE6F-C164-E02B733A895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9" name="Plassholder for tekst 5">
            <a:extLst>
              <a:ext uri="{FF2B5EF4-FFF2-40B4-BE49-F238E27FC236}">
                <a16:creationId xmlns:a16="http://schemas.microsoft.com/office/drawing/2014/main" id="{B36C8267-DF18-0FEA-67D1-39B13C2350DC}"/>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5410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 bullets + bubble images/color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0"/>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sp>
        <p:nvSpPr>
          <p:cNvPr id="9" name="Plassholder for tekst 5">
            <a:extLst>
              <a:ext uri="{FF2B5EF4-FFF2-40B4-BE49-F238E27FC236}">
                <a16:creationId xmlns:a16="http://schemas.microsoft.com/office/drawing/2014/main" id="{6F3A3404-E977-CFD6-FA6A-A931DD626D42}"/>
              </a:ext>
            </a:extLst>
          </p:cNvPr>
          <p:cNvSpPr>
            <a:spLocks noGrp="1"/>
          </p:cNvSpPr>
          <p:nvPr>
            <p:ph type="body" sz="quarter" idx="16" hasCustomPrompt="1"/>
          </p:nvPr>
        </p:nvSpPr>
        <p:spPr>
          <a:xfrm>
            <a:off x="959978" y="2072789"/>
            <a:ext cx="61642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Picture 4" descr="Icon&#10;&#10;Description automatically generated">
            <a:extLst>
              <a:ext uri="{FF2B5EF4-FFF2-40B4-BE49-F238E27FC236}">
                <a16:creationId xmlns:a16="http://schemas.microsoft.com/office/drawing/2014/main" id="{F5E483AF-5CC4-BBE6-084A-F51B37914E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607783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Tree>
    <p:extLst>
      <p:ext uri="{BB962C8B-B14F-4D97-AF65-F5344CB8AC3E}">
        <p14:creationId xmlns:p14="http://schemas.microsoft.com/office/powerpoint/2010/main" val="209955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Bullets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
        <p:nvSpPr>
          <p:cNvPr id="8" name="Plassholder for tekst 5">
            <a:extLst>
              <a:ext uri="{FF2B5EF4-FFF2-40B4-BE49-F238E27FC236}">
                <a16:creationId xmlns:a16="http://schemas.microsoft.com/office/drawing/2014/main" id="{20A947F6-38E2-DF01-3BF5-306544EA81C7}"/>
              </a:ext>
            </a:extLst>
          </p:cNvPr>
          <p:cNvSpPr>
            <a:spLocks noGrp="1"/>
          </p:cNvSpPr>
          <p:nvPr>
            <p:ph type="body" sz="quarter" idx="20" hasCustomPrompt="1"/>
          </p:nvPr>
        </p:nvSpPr>
        <p:spPr>
          <a:xfrm>
            <a:off x="6382766"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7963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animEffect transition="in" filter="fade">
                                      <p:cBhvr>
                                        <p:cTn id="27" dur="500"/>
                                        <p:tgtEl>
                                          <p:spTgt spid="8">
                                            <p:txEl>
                                              <p:pRg st="1" end="1"/>
                                            </p:txEl>
                                          </p:spTgt>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8">
                                            <p:txEl>
                                              <p:pRg st="2" end="2"/>
                                            </p:txEl>
                                          </p:spTgt>
                                        </p:tgtEl>
                                        <p:attrNameLst>
                                          <p:attrName>style.visibility</p:attrName>
                                        </p:attrNameLst>
                                      </p:cBhvr>
                                      <p:to>
                                        <p:strVal val="visible"/>
                                      </p:to>
                                    </p:set>
                                    <p:animEffect transition="in" filter="fade">
                                      <p:cBhvr>
                                        <p:cTn id="31"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8" grpId="0" uiExpand="1"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6858000"/>
          </a:xfrm>
          <a:prstGeom prst="rect">
            <a:avLst/>
          </a:prstGeom>
        </p:spPr>
        <p:txBody>
          <a:bodyPr/>
          <a:lstStyle/>
          <a:p>
            <a:endParaRPr lang="nb-NO"/>
          </a:p>
        </p:txBody>
      </p:sp>
    </p:spTree>
    <p:extLst>
      <p:ext uri="{BB962C8B-B14F-4D97-AF65-F5344CB8AC3E}">
        <p14:creationId xmlns:p14="http://schemas.microsoft.com/office/powerpoint/2010/main" val="28556636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107413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le + subtitle - green backgroun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BC0A55C6-8A4D-DF9D-1DA6-C64D98C92571}"/>
              </a:ext>
            </a:extLst>
          </p:cNvPr>
          <p:cNvPicPr>
            <a:picLocks noChangeAspect="1"/>
          </p:cNvPicPr>
          <p:nvPr userDrawn="1"/>
        </p:nvPicPr>
        <p:blipFill rotWithShape="1">
          <a:blip r:embed="rId2"/>
          <a:srcRect t="6932"/>
          <a:stretch/>
        </p:blipFill>
        <p:spPr>
          <a:xfrm>
            <a:off x="0" y="0"/>
            <a:ext cx="12262337" cy="6858000"/>
          </a:xfrm>
          <a:prstGeom prst="rect">
            <a:avLst/>
          </a:prstGeom>
        </p:spPr>
      </p:pic>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Tree>
    <p:extLst>
      <p:ext uri="{BB962C8B-B14F-4D97-AF65-F5344CB8AC3E}">
        <p14:creationId xmlns:p14="http://schemas.microsoft.com/office/powerpoint/2010/main" val="3644008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phics 1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accent4"/>
          </a:solidFill>
        </p:spPr>
        <p:txBody>
          <a:bodyPr anchor="ctr"/>
          <a:lstStyle>
            <a:lvl1pPr marL="0" indent="0" algn="ctr">
              <a:buFontTx/>
              <a:buNone/>
              <a:defRPr sz="1400" b="0" i="0">
                <a:solidFill>
                  <a:schemeClr val="tx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Tree>
    <p:extLst>
      <p:ext uri="{BB962C8B-B14F-4D97-AF65-F5344CB8AC3E}">
        <p14:creationId xmlns:p14="http://schemas.microsoft.com/office/powerpoint/2010/main" val="2922029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ics 1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tx1"/>
          </a:solidFill>
        </p:spPr>
        <p:txBody>
          <a:bodyPr anchor="ctr"/>
          <a:lstStyle>
            <a:lvl1pPr marL="0" indent="0" algn="ctr">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pic>
        <p:nvPicPr>
          <p:cNvPr id="2" name="Grafikk 1">
            <a:extLst>
              <a:ext uri="{FF2B5EF4-FFF2-40B4-BE49-F238E27FC236}">
                <a16:creationId xmlns:a16="http://schemas.microsoft.com/office/drawing/2014/main" id="{1B1389E9-0708-8A9F-4DE2-BB6537DF5F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5684577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s 2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tx1"/>
          </a:solidFill>
        </p:spPr>
        <p:txBody>
          <a:bodyPr anchor="ctr"/>
          <a:lstStyle>
            <a:lvl1pPr marL="0" indent="0" algn="ctr">
              <a:buNone/>
              <a:defRPr sz="1600" b="0" i="0">
                <a:solidFill>
                  <a:schemeClr val="bg2"/>
                </a:solidFill>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pic>
        <p:nvPicPr>
          <p:cNvPr id="2" name="Grafikk 1">
            <a:extLst>
              <a:ext uri="{FF2B5EF4-FFF2-40B4-BE49-F238E27FC236}">
                <a16:creationId xmlns:a16="http://schemas.microsoft.com/office/drawing/2014/main" id="{DDAC66EB-1870-300A-7B82-89C7D68BB5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2940448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s 2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accent4"/>
          </a:solidFill>
        </p:spPr>
        <p:txBody>
          <a:bodyPr anchor="ctr"/>
          <a:lstStyle>
            <a:lvl1pPr marL="0" indent="0" algn="ctr">
              <a:buNone/>
              <a:defRPr sz="1600" b="0" i="0">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Tree>
    <p:extLst>
      <p:ext uri="{BB962C8B-B14F-4D97-AF65-F5344CB8AC3E}">
        <p14:creationId xmlns:p14="http://schemas.microsoft.com/office/powerpoint/2010/main" val="259525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s 3 light">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bg2"/>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spTree>
    <p:extLst>
      <p:ext uri="{BB962C8B-B14F-4D97-AF65-F5344CB8AC3E}">
        <p14:creationId xmlns:p14="http://schemas.microsoft.com/office/powerpoint/2010/main" val="2321523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phics 3 Dark">
    <p:bg>
      <p:bgRef idx="1001">
        <a:schemeClr val="bg2"/>
      </p:bgRef>
    </p:bg>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tx1"/>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solidFill>
                  <a:schemeClr val="bg2"/>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pic>
        <p:nvPicPr>
          <p:cNvPr id="2" name="Grafikk 1">
            <a:extLst>
              <a:ext uri="{FF2B5EF4-FFF2-40B4-BE49-F238E27FC236}">
                <a16:creationId xmlns:a16="http://schemas.microsoft.com/office/drawing/2014/main" id="{BF79DC8A-D9A6-EFAD-A275-7ECFAAFB36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4101452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x 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4862293" cy="4096733"/>
          </a:xfrm>
          <a:prstGeom prst="rect">
            <a:avLst/>
          </a:prstGeom>
        </p:spPr>
        <p:txBody>
          <a:bodyPr/>
          <a:lstStyle>
            <a:lvl1pPr marL="0" indent="0">
              <a:buNone/>
              <a:defRPr/>
            </a:lvl1pPr>
          </a:lstStyle>
          <a:p>
            <a:pPr lvl="0"/>
            <a:r>
              <a:rPr lang="nb-NO" err="1"/>
              <a:t>Table</a:t>
            </a:r>
            <a:r>
              <a:rPr lang="nb-NO"/>
              <a:t>/diagram slide</a:t>
            </a:r>
          </a:p>
        </p:txBody>
      </p:sp>
      <p:sp>
        <p:nvSpPr>
          <p:cNvPr id="2" name="Plassholder for innhold 6">
            <a:extLst>
              <a:ext uri="{FF2B5EF4-FFF2-40B4-BE49-F238E27FC236}">
                <a16:creationId xmlns:a16="http://schemas.microsoft.com/office/drawing/2014/main" id="{3BB056B2-AB73-2C0D-D171-57B0E19CDD0F}"/>
              </a:ext>
            </a:extLst>
          </p:cNvPr>
          <p:cNvSpPr>
            <a:spLocks noGrp="1"/>
          </p:cNvSpPr>
          <p:nvPr>
            <p:ph sz="quarter" idx="14" hasCustomPrompt="1"/>
          </p:nvPr>
        </p:nvSpPr>
        <p:spPr>
          <a:xfrm>
            <a:off x="6369270" y="2178424"/>
            <a:ext cx="4845270" cy="4096733"/>
          </a:xfrm>
          <a:prstGeom prst="rect">
            <a:avLst/>
          </a:prstGeom>
        </p:spPr>
        <p:txBody>
          <a:bodyPr/>
          <a:lstStyle>
            <a:lvl1pPr marL="0" indent="0">
              <a:buNone/>
              <a:defRPr/>
            </a:lvl1pPr>
          </a:lstStyle>
          <a:p>
            <a:pPr lvl="0"/>
            <a:r>
              <a:rPr lang="nb-NO" err="1"/>
              <a:t>Table</a:t>
            </a:r>
            <a:r>
              <a:rPr lang="nb-NO"/>
              <a:t>/diagram slide</a:t>
            </a:r>
          </a:p>
        </p:txBody>
      </p:sp>
      <p:sp>
        <p:nvSpPr>
          <p:cNvPr id="3" name="Rektangel 2">
            <a:extLst>
              <a:ext uri="{FF2B5EF4-FFF2-40B4-BE49-F238E27FC236}">
                <a16:creationId xmlns:a16="http://schemas.microsoft.com/office/drawing/2014/main" id="{2F41C353-6034-3559-0B94-6253E70A09CB}"/>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162525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2" grpId="0" build="p">
        <p:tmplLst>
          <p:tmpl lvl="1">
            <p:tnLst>
              <p:par>
                <p:cTn presetID="10" presetClass="entr" presetSubtype="0" fill="hold" nodeType="after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4084866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Bullets/Bodytext-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C905B97D-755E-6240-4621-8D2305812C27}"/>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0" name="Grafikk 9">
            <a:extLst>
              <a:ext uri="{FF2B5EF4-FFF2-40B4-BE49-F238E27FC236}">
                <a16:creationId xmlns:a16="http://schemas.microsoft.com/office/drawing/2014/main" id="{DA177B15-787D-1BB6-535E-1B8AEE7F18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3" name="Plassholder for tekst 5">
            <a:extLst>
              <a:ext uri="{FF2B5EF4-FFF2-40B4-BE49-F238E27FC236}">
                <a16:creationId xmlns:a16="http://schemas.microsoft.com/office/drawing/2014/main" id="{07D3CFA2-1D04-8FEE-6767-EA2B9CF24C6C}"/>
              </a:ext>
            </a:extLst>
          </p:cNvPr>
          <p:cNvSpPr>
            <a:spLocks noGrp="1"/>
          </p:cNvSpPr>
          <p:nvPr>
            <p:ph type="body" sz="quarter" idx="16" hasCustomPrompt="1"/>
          </p:nvPr>
        </p:nvSpPr>
        <p:spPr>
          <a:xfrm>
            <a:off x="959978" y="2072789"/>
            <a:ext cx="10125074"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6" name="Bilde 15">
            <a:extLst>
              <a:ext uri="{FF2B5EF4-FFF2-40B4-BE49-F238E27FC236}">
                <a16:creationId xmlns:a16="http://schemas.microsoft.com/office/drawing/2014/main" id="{0EA9409F-7D93-8254-9BE0-55EF66824365}"/>
              </a:ext>
            </a:extLst>
          </p:cNvPr>
          <p:cNvPicPr>
            <a:picLocks noChangeAspect="1"/>
          </p:cNvPicPr>
          <p:nvPr userDrawn="1"/>
        </p:nvPicPr>
        <p:blipFill>
          <a:blip r:embed="rId4"/>
          <a:stretch>
            <a:fillRect/>
          </a:stretch>
        </p:blipFill>
        <p:spPr>
          <a:xfrm>
            <a:off x="5962650" y="3359150"/>
            <a:ext cx="266700" cy="139700"/>
          </a:xfrm>
          <a:prstGeom prst="rect">
            <a:avLst/>
          </a:prstGeom>
        </p:spPr>
      </p:pic>
    </p:spTree>
    <p:extLst>
      <p:ext uri="{BB962C8B-B14F-4D97-AF65-F5344CB8AC3E}">
        <p14:creationId xmlns:p14="http://schemas.microsoft.com/office/powerpoint/2010/main" val="59772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Bullet+Imagebubble-Dark mode">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3CACE40-95CF-2DF2-7DC6-928577C6DF71}"/>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19">
            <a:extLst>
              <a:ext uri="{FF2B5EF4-FFF2-40B4-BE49-F238E27FC236}">
                <a16:creationId xmlns:a16="http://schemas.microsoft.com/office/drawing/2014/main" id="{72C5993D-DB0E-DF91-3094-2988C6BD8BE8}"/>
              </a:ext>
            </a:extLst>
          </p:cNvPr>
          <p:cNvSpPr>
            <a:spLocks noGrp="1"/>
          </p:cNvSpPr>
          <p:nvPr>
            <p:ph type="body" sz="quarter" idx="10" hasCustomPrompt="1"/>
          </p:nvPr>
        </p:nvSpPr>
        <p:spPr>
          <a:xfrm>
            <a:off x="959978" y="498764"/>
            <a:ext cx="5917441"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2403DC52-F8D5-2D0B-F4FA-A3753032009F}"/>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tekst 5">
            <a:extLst>
              <a:ext uri="{FF2B5EF4-FFF2-40B4-BE49-F238E27FC236}">
                <a16:creationId xmlns:a16="http://schemas.microsoft.com/office/drawing/2014/main" id="{FE759D3D-8E7D-B5CC-3F1D-E66FAB0D800B}"/>
              </a:ext>
            </a:extLst>
          </p:cNvPr>
          <p:cNvSpPr>
            <a:spLocks noGrp="1"/>
          </p:cNvSpPr>
          <p:nvPr>
            <p:ph type="body" sz="quarter" idx="16" hasCustomPrompt="1"/>
          </p:nvPr>
        </p:nvSpPr>
        <p:spPr>
          <a:xfrm>
            <a:off x="959978" y="2072789"/>
            <a:ext cx="5804087"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12124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le + subtitle - green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C1E1F7-F265-7C6D-4BA2-E2E2BAA585B6}"/>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
        <p:nvSpPr>
          <p:cNvPr id="22" name="Ellipse 21">
            <a:extLst>
              <a:ext uri="{FF2B5EF4-FFF2-40B4-BE49-F238E27FC236}">
                <a16:creationId xmlns:a16="http://schemas.microsoft.com/office/drawing/2014/main" id="{6E2B6B66-B6DF-5471-1231-95C4362EBD94}"/>
              </a:ext>
            </a:extLst>
          </p:cNvPr>
          <p:cNvSpPr/>
          <p:nvPr userDrawn="1"/>
        </p:nvSpPr>
        <p:spPr>
          <a:xfrm>
            <a:off x="-930481" y="-323901"/>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07E0728F-FEF8-3C9F-F79C-8CFAFA8805F7}"/>
              </a:ext>
            </a:extLst>
          </p:cNvPr>
          <p:cNvSpPr/>
          <p:nvPr userDrawn="1"/>
        </p:nvSpPr>
        <p:spPr>
          <a:xfrm>
            <a:off x="913925" y="-2107757"/>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24" name="Ellipse 23">
            <a:extLst>
              <a:ext uri="{FF2B5EF4-FFF2-40B4-BE49-F238E27FC236}">
                <a16:creationId xmlns:a16="http://schemas.microsoft.com/office/drawing/2014/main" id="{468A8CD6-C3DF-88E6-999D-44786EBD7C11}"/>
              </a:ext>
            </a:extLst>
          </p:cNvPr>
          <p:cNvSpPr/>
          <p:nvPr userDrawn="1"/>
        </p:nvSpPr>
        <p:spPr>
          <a:xfrm>
            <a:off x="2523919" y="564042"/>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BC39358A-04A8-974B-F444-CAF85106B4F3}"/>
              </a:ext>
            </a:extLst>
          </p:cNvPr>
          <p:cNvSpPr/>
          <p:nvPr userDrawn="1"/>
        </p:nvSpPr>
        <p:spPr>
          <a:xfrm>
            <a:off x="1152640" y="581367"/>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9C08F669-585E-2AA3-CFEB-B6EDD2CB537B}"/>
              </a:ext>
            </a:extLst>
          </p:cNvPr>
          <p:cNvSpPr/>
          <p:nvPr userDrawn="1"/>
        </p:nvSpPr>
        <p:spPr>
          <a:xfrm>
            <a:off x="265833" y="-904006"/>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291280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left - Title + bullets-Dark mode">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9190B63-43F0-F825-3D12-6941DAA1B7C3}"/>
              </a:ext>
            </a:extLst>
          </p:cNvPr>
          <p:cNvSpPr/>
          <p:nvPr userDrawn="1"/>
        </p:nvSpPr>
        <p:spPr>
          <a:xfrm rot="5400000">
            <a:off x="2723675" y="-2723676"/>
            <a:ext cx="6858000" cy="123053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pic>
        <p:nvPicPr>
          <p:cNvPr id="6" name="Grafikk 5">
            <a:extLst>
              <a:ext uri="{FF2B5EF4-FFF2-40B4-BE49-F238E27FC236}">
                <a16:creationId xmlns:a16="http://schemas.microsoft.com/office/drawing/2014/main" id="{79F21192-5A24-4610-CD76-2E379F4194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0" name="Plassholder for tekst 5">
            <a:extLst>
              <a:ext uri="{FF2B5EF4-FFF2-40B4-BE49-F238E27FC236}">
                <a16:creationId xmlns:a16="http://schemas.microsoft.com/office/drawing/2014/main" id="{68CF1AE7-40AF-57C6-6FCC-2FEB225A5B6C}"/>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3072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right - Title + bullets-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2592168C-AF0F-98EC-C843-954A0F851959}"/>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latin typeface="Haffer Light" pitchFamily="2" charset="77"/>
              <a:cs typeface="Haffer Light" pitchFamily="2" charset="77"/>
            </a:endParaRPr>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B39E79F-76D5-BCC0-8ED6-4081CC1B9413}"/>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26406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 bullets + 3 bubble images-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 name="Grafikk 2">
            <a:extLst>
              <a:ext uri="{FF2B5EF4-FFF2-40B4-BE49-F238E27FC236}">
                <a16:creationId xmlns:a16="http://schemas.microsoft.com/office/drawing/2014/main" id="{3F5BF64D-832E-3A7F-B479-1CF0AE30E5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8" name="Plassholder for tekst 5">
            <a:extLst>
              <a:ext uri="{FF2B5EF4-FFF2-40B4-BE49-F238E27FC236}">
                <a16:creationId xmlns:a16="http://schemas.microsoft.com/office/drawing/2014/main" id="{41C426D6-A6F7-D098-F1BB-2269FE2607C3}"/>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605737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bullets + bubble images/green-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1" name="Grafikk 30">
            <a:extLst>
              <a:ext uri="{FF2B5EF4-FFF2-40B4-BE49-F238E27FC236}">
                <a16:creationId xmlns:a16="http://schemas.microsoft.com/office/drawing/2014/main" id="{1170CEEC-126B-6FAD-E020-6C9F17252E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32" name="Plassholder for tekst 5">
            <a:extLst>
              <a:ext uri="{FF2B5EF4-FFF2-40B4-BE49-F238E27FC236}">
                <a16:creationId xmlns:a16="http://schemas.microsoft.com/office/drawing/2014/main" id="{AC7B74B5-A938-0EC3-CC96-291665FF1D61}"/>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492553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2">
                                            <p:txEl>
                                              <p:pRg st="0" end="0"/>
                                            </p:txEl>
                                          </p:spTgt>
                                        </p:tgtEl>
                                        <p:attrNameLst>
                                          <p:attrName>style.visibility</p:attrName>
                                        </p:attrNameLst>
                                      </p:cBhvr>
                                      <p:to>
                                        <p:strVal val="visible"/>
                                      </p:to>
                                    </p:set>
                                    <p:animEffect transition="in" filter="fade">
                                      <p:cBhvr>
                                        <p:cTn id="11" dur="500"/>
                                        <p:tgtEl>
                                          <p:spTgt spid="3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2">
                                            <p:txEl>
                                              <p:pRg st="1" end="1"/>
                                            </p:txEl>
                                          </p:spTgt>
                                        </p:tgtEl>
                                        <p:attrNameLst>
                                          <p:attrName>style.visibility</p:attrName>
                                        </p:attrNameLst>
                                      </p:cBhvr>
                                      <p:to>
                                        <p:strVal val="visible"/>
                                      </p:to>
                                    </p:set>
                                    <p:animEffect transition="in" filter="fade">
                                      <p:cBhvr>
                                        <p:cTn id="15" dur="500"/>
                                        <p:tgtEl>
                                          <p:spTgt spid="3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2">
                                            <p:txEl>
                                              <p:pRg st="2" end="2"/>
                                            </p:txEl>
                                          </p:spTgt>
                                        </p:tgtEl>
                                        <p:attrNameLst>
                                          <p:attrName>style.visibility</p:attrName>
                                        </p:attrNameLst>
                                      </p:cBhvr>
                                      <p:to>
                                        <p:strVal val="visible"/>
                                      </p:to>
                                    </p:set>
                                    <p:animEffect transition="in" filter="fade">
                                      <p:cBhvr>
                                        <p:cTn id="19" dur="500"/>
                                        <p:tgtEl>
                                          <p:spTgt spid="3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32" grpId="0" build="p">
        <p:tmplLst>
          <p:tmpl lvl="1">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ontel News">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2">
            <a:extLst>
              <a:ext uri="{FF2B5EF4-FFF2-40B4-BE49-F238E27FC236}">
                <a16:creationId xmlns:a16="http://schemas.microsoft.com/office/drawing/2014/main" id="{CD592C1A-C33E-D0FD-C9C3-AABFA0FA56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1988838"/>
            <a:ext cx="4779864" cy="1725612"/>
          </a:xfrm>
          <a:prstGeom prst="rect">
            <a:avLst/>
          </a:prstGeom>
        </p:spPr>
      </p:pic>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683833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5FED5E2E-4C7D-EE8C-FFE4-86A1C09FA19F}"/>
              </a:ext>
            </a:extLst>
          </p:cNvPr>
          <p:cNvPicPr>
            <a:picLocks noChangeAspect="1"/>
          </p:cNvPicPr>
          <p:nvPr userDrawn="1"/>
        </p:nvPicPr>
        <p:blipFill>
          <a:blip r:embed="rId4"/>
          <a:stretch>
            <a:fillRect/>
          </a:stretch>
        </p:blipFill>
        <p:spPr>
          <a:xfrm>
            <a:off x="11546205" y="234873"/>
            <a:ext cx="399735" cy="399735"/>
          </a:xfrm>
          <a:prstGeom prst="rect">
            <a:avLst/>
          </a:prstGeom>
        </p:spPr>
      </p:pic>
      <p:sp>
        <p:nvSpPr>
          <p:cNvPr id="13" name="Plassholder for tekst 5">
            <a:extLst>
              <a:ext uri="{FF2B5EF4-FFF2-40B4-BE49-F238E27FC236}">
                <a16:creationId xmlns:a16="http://schemas.microsoft.com/office/drawing/2014/main" id="{A425FB59-1D33-E330-67BA-3B6A6EFF9F5C}"/>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C9C62769-4B60-4F7F-57B6-E3105E344C47}"/>
              </a:ext>
            </a:extLst>
          </p:cNvPr>
          <p:cNvPicPr>
            <a:picLocks noChangeAspect="1"/>
          </p:cNvPicPr>
          <p:nvPr userDrawn="1"/>
        </p:nvPicPr>
        <p:blipFill>
          <a:blip r:embed="rId5">
            <a:alphaModFix amt="30000"/>
          </a:blip>
          <a:stretch>
            <a:fillRect/>
          </a:stretch>
        </p:blipFill>
        <p:spPr>
          <a:xfrm>
            <a:off x="10078529" y="4946792"/>
            <a:ext cx="2732931" cy="2275220"/>
          </a:xfrm>
          <a:prstGeom prst="rect">
            <a:avLst/>
          </a:prstGeom>
        </p:spPr>
      </p:pic>
      <p:sp>
        <p:nvSpPr>
          <p:cNvPr id="17" name="TekstSylinder 16">
            <a:extLst>
              <a:ext uri="{FF2B5EF4-FFF2-40B4-BE49-F238E27FC236}">
                <a16:creationId xmlns:a16="http://schemas.microsoft.com/office/drawing/2014/main" id="{0DA2A8D4-5A65-B72A-6B30-EB7266A7A598}"/>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351921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3EDEA894-2ADD-0F84-E844-8193DECD365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22552077-D8F7-E79F-254F-81089E37E4C0}"/>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594139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C356EDD0-52F5-165D-F6DA-8F7CD3EDC0D2}"/>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6627EAFF-585A-5B2F-DD1E-60C16A19A619}"/>
              </a:ext>
            </a:extLst>
          </p:cNvPr>
          <p:cNvPicPr>
            <a:picLocks noChangeAspect="1"/>
          </p:cNvPicPr>
          <p:nvPr userDrawn="1"/>
        </p:nvPicPr>
        <p:blipFill>
          <a:blip r:embed="rId2">
            <a:alphaModFix amt="30000"/>
          </a:blip>
          <a:stretch>
            <a:fillRect/>
          </a:stretch>
        </p:blipFill>
        <p:spPr>
          <a:xfrm>
            <a:off x="10078529" y="4946792"/>
            <a:ext cx="2732931" cy="2275220"/>
          </a:xfrm>
          <a:prstGeom prst="rect">
            <a:avLst/>
          </a:prstGeom>
        </p:spPr>
      </p:pic>
      <p:pic>
        <p:nvPicPr>
          <p:cNvPr id="10" name="Bilde 9">
            <a:extLst>
              <a:ext uri="{FF2B5EF4-FFF2-40B4-BE49-F238E27FC236}">
                <a16:creationId xmlns:a16="http://schemas.microsoft.com/office/drawing/2014/main" id="{75ABAA63-61A1-2A77-ECC1-79F1F13227F7}"/>
              </a:ext>
            </a:extLst>
          </p:cNvPr>
          <p:cNvPicPr>
            <a:picLocks noChangeAspect="1"/>
          </p:cNvPicPr>
          <p:nvPr userDrawn="1"/>
        </p:nvPicPr>
        <p:blipFill>
          <a:blip r:embed="rId3"/>
          <a:stretch>
            <a:fillRect/>
          </a:stretch>
        </p:blipFill>
        <p:spPr>
          <a:xfrm>
            <a:off x="11546205" y="234873"/>
            <a:ext cx="399735" cy="399735"/>
          </a:xfrm>
          <a:prstGeom prst="rect">
            <a:avLst/>
          </a:prstGeom>
        </p:spPr>
      </p:pic>
      <p:sp>
        <p:nvSpPr>
          <p:cNvPr id="12" name="TekstSylinder 11">
            <a:extLst>
              <a:ext uri="{FF2B5EF4-FFF2-40B4-BE49-F238E27FC236}">
                <a16:creationId xmlns:a16="http://schemas.microsoft.com/office/drawing/2014/main" id="{2CF49E1F-7CBC-76F6-80FD-6E16836F309C}"/>
              </a:ext>
            </a:extLst>
          </p:cNvPr>
          <p:cNvSpPr txBox="1"/>
          <p:nvPr userDrawn="1"/>
        </p:nvSpPr>
        <p:spPr>
          <a:xfrm>
            <a:off x="56335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2820953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B44CCB6C-A52E-D79D-808C-49F576C0CF7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175F0EF6-3650-2B55-2E0B-BB2A13A8BC8C}"/>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74365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ontel advisory">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fikk 6">
            <a:extLst>
              <a:ext uri="{FF2B5EF4-FFF2-40B4-BE49-F238E27FC236}">
                <a16:creationId xmlns:a16="http://schemas.microsoft.com/office/drawing/2014/main" id="{1041DDD1-C153-5D4E-55C8-019762E77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30889" y="1752019"/>
            <a:ext cx="6625808" cy="2247246"/>
          </a:xfrm>
          <a:prstGeom prst="rect">
            <a:avLst/>
          </a:prstGeom>
        </p:spPr>
      </p:pic>
    </p:spTree>
    <p:extLst>
      <p:ext uri="{BB962C8B-B14F-4D97-AF65-F5344CB8AC3E}">
        <p14:creationId xmlns:p14="http://schemas.microsoft.com/office/powerpoint/2010/main" val="3449768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Payoff + Image 1">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51647FE-9249-753F-47CB-1DD60FDB53A7}"/>
              </a:ext>
            </a:extLst>
          </p:cNvPr>
          <p:cNvSpPr/>
          <p:nvPr userDrawn="1"/>
        </p:nvSpPr>
        <p:spPr>
          <a:xfrm rot="5400000">
            <a:off x="2637182"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740826" y="6050436"/>
            <a:ext cx="1583603" cy="286753"/>
          </a:xfrm>
          <a:prstGeom prst="rect">
            <a:avLst/>
          </a:prstGeom>
        </p:spPr>
      </p:pic>
      <p:sp>
        <p:nvSpPr>
          <p:cNvPr id="16" name="Plassholder for bilde 15">
            <a:extLst>
              <a:ext uri="{FF2B5EF4-FFF2-40B4-BE49-F238E27FC236}">
                <a16:creationId xmlns:a16="http://schemas.microsoft.com/office/drawing/2014/main" id="{3C935765-D12A-4E84-DC8D-8A6D5D4EE1B6}"/>
              </a:ext>
            </a:extLst>
          </p:cNvPr>
          <p:cNvSpPr>
            <a:spLocks noGrp="1"/>
          </p:cNvSpPr>
          <p:nvPr userDrawn="1">
            <p:ph type="pic" sz="quarter" idx="10"/>
          </p:nvPr>
        </p:nvSpPr>
        <p:spPr>
          <a:xfrm>
            <a:off x="3997237" y="-330447"/>
            <a:ext cx="9867570" cy="8707146"/>
          </a:xfrm>
          <a:custGeom>
            <a:avLst/>
            <a:gdLst>
              <a:gd name="connsiteX0" fmla="*/ 5747807 w 9867570"/>
              <a:gd name="connsiteY0" fmla="*/ 6030950 h 8707146"/>
              <a:gd name="connsiteX1" fmla="*/ 7077012 w 9867570"/>
              <a:gd name="connsiteY1" fmla="*/ 7369048 h 8707146"/>
              <a:gd name="connsiteX2" fmla="*/ 5747807 w 9867570"/>
              <a:gd name="connsiteY2" fmla="*/ 8707146 h 8707146"/>
              <a:gd name="connsiteX3" fmla="*/ 4418602 w 9867570"/>
              <a:gd name="connsiteY3" fmla="*/ 7369048 h 8707146"/>
              <a:gd name="connsiteX4" fmla="*/ 5747807 w 9867570"/>
              <a:gd name="connsiteY4" fmla="*/ 6030950 h 8707146"/>
              <a:gd name="connsiteX5" fmla="*/ 2191999 w 9867570"/>
              <a:gd name="connsiteY5" fmla="*/ 3956659 h 8707146"/>
              <a:gd name="connsiteX6" fmla="*/ 4383998 w 9867570"/>
              <a:gd name="connsiteY6" fmla="*/ 6163324 h 8707146"/>
              <a:gd name="connsiteX7" fmla="*/ 2191999 w 9867570"/>
              <a:gd name="connsiteY7" fmla="*/ 8369989 h 8707146"/>
              <a:gd name="connsiteX8" fmla="*/ 0 w 9867570"/>
              <a:gd name="connsiteY8" fmla="*/ 6163324 h 8707146"/>
              <a:gd name="connsiteX9" fmla="*/ 2191999 w 9867570"/>
              <a:gd name="connsiteY9" fmla="*/ 3956659 h 8707146"/>
              <a:gd name="connsiteX10" fmla="*/ 3260259 w 9867570"/>
              <a:gd name="connsiteY10" fmla="*/ 2836232 h 8707146"/>
              <a:gd name="connsiteX11" fmla="*/ 3879694 w 9867570"/>
              <a:gd name="connsiteY11" fmla="*/ 3459811 h 8707146"/>
              <a:gd name="connsiteX12" fmla="*/ 3260259 w 9867570"/>
              <a:gd name="connsiteY12" fmla="*/ 4083391 h 8707146"/>
              <a:gd name="connsiteX13" fmla="*/ 2640824 w 9867570"/>
              <a:gd name="connsiteY13" fmla="*/ 3459811 h 8707146"/>
              <a:gd name="connsiteX14" fmla="*/ 3260259 w 9867570"/>
              <a:gd name="connsiteY14" fmla="*/ 2836232 h 8707146"/>
              <a:gd name="connsiteX15" fmla="*/ 6946950 w 9867570"/>
              <a:gd name="connsiteY15" fmla="*/ 0 h 8707146"/>
              <a:gd name="connsiteX16" fmla="*/ 9867570 w 9867570"/>
              <a:gd name="connsiteY16" fmla="*/ 2940160 h 8707146"/>
              <a:gd name="connsiteX17" fmla="*/ 6946950 w 9867570"/>
              <a:gd name="connsiteY17" fmla="*/ 5880320 h 8707146"/>
              <a:gd name="connsiteX18" fmla="*/ 4026330 w 9867570"/>
              <a:gd name="connsiteY18" fmla="*/ 2940160 h 8707146"/>
              <a:gd name="connsiteX19" fmla="*/ 6946950 w 9867570"/>
              <a:gd name="connsiteY19" fmla="*/ 0 h 87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7570" h="8707146">
                <a:moveTo>
                  <a:pt x="5747807" y="6030950"/>
                </a:moveTo>
                <a:cubicBezTo>
                  <a:pt x="6481907" y="6030950"/>
                  <a:pt x="7077012" y="6630037"/>
                  <a:pt x="7077012" y="7369048"/>
                </a:cubicBezTo>
                <a:cubicBezTo>
                  <a:pt x="7077012" y="8108059"/>
                  <a:pt x="6481907" y="8707146"/>
                  <a:pt x="5747807" y="8707146"/>
                </a:cubicBezTo>
                <a:cubicBezTo>
                  <a:pt x="5013707" y="8707146"/>
                  <a:pt x="4418602" y="8108059"/>
                  <a:pt x="4418602" y="7369048"/>
                </a:cubicBezTo>
                <a:cubicBezTo>
                  <a:pt x="4418602" y="6630037"/>
                  <a:pt x="5013707" y="6030950"/>
                  <a:pt x="5747807" y="6030950"/>
                </a:cubicBezTo>
                <a:close/>
                <a:moveTo>
                  <a:pt x="2191999" y="3956659"/>
                </a:moveTo>
                <a:cubicBezTo>
                  <a:pt x="3402607" y="3956659"/>
                  <a:pt x="4383998" y="4944617"/>
                  <a:pt x="4383998" y="6163324"/>
                </a:cubicBezTo>
                <a:cubicBezTo>
                  <a:pt x="4383998" y="7382031"/>
                  <a:pt x="3402607" y="8369989"/>
                  <a:pt x="2191999" y="8369989"/>
                </a:cubicBezTo>
                <a:cubicBezTo>
                  <a:pt x="981391" y="8369989"/>
                  <a:pt x="0" y="7382031"/>
                  <a:pt x="0" y="6163324"/>
                </a:cubicBezTo>
                <a:cubicBezTo>
                  <a:pt x="0" y="4944617"/>
                  <a:pt x="981391" y="3956659"/>
                  <a:pt x="2191999" y="3956659"/>
                </a:cubicBezTo>
                <a:close/>
                <a:moveTo>
                  <a:pt x="3260259" y="2836232"/>
                </a:moveTo>
                <a:cubicBezTo>
                  <a:pt x="3602364" y="2836232"/>
                  <a:pt x="3879694" y="3115417"/>
                  <a:pt x="3879694" y="3459811"/>
                </a:cubicBezTo>
                <a:cubicBezTo>
                  <a:pt x="3879694" y="3804206"/>
                  <a:pt x="3602364" y="4083391"/>
                  <a:pt x="3260259" y="4083391"/>
                </a:cubicBezTo>
                <a:cubicBezTo>
                  <a:pt x="2918154" y="4083391"/>
                  <a:pt x="2640824" y="3804206"/>
                  <a:pt x="2640824" y="3459811"/>
                </a:cubicBezTo>
                <a:cubicBezTo>
                  <a:pt x="2640824" y="3115417"/>
                  <a:pt x="2918154" y="2836232"/>
                  <a:pt x="3260259" y="2836232"/>
                </a:cubicBezTo>
                <a:close/>
                <a:moveTo>
                  <a:pt x="6946950" y="0"/>
                </a:moveTo>
                <a:cubicBezTo>
                  <a:pt x="8559964" y="0"/>
                  <a:pt x="9867570" y="1316354"/>
                  <a:pt x="9867570" y="2940160"/>
                </a:cubicBezTo>
                <a:cubicBezTo>
                  <a:pt x="9867570" y="4563966"/>
                  <a:pt x="8559964" y="5880320"/>
                  <a:pt x="6946950" y="5880320"/>
                </a:cubicBezTo>
                <a:cubicBezTo>
                  <a:pt x="5333936" y="5880320"/>
                  <a:pt x="4026330" y="4563966"/>
                  <a:pt x="4026330" y="2940160"/>
                </a:cubicBezTo>
                <a:cubicBezTo>
                  <a:pt x="4026330" y="1316354"/>
                  <a:pt x="5333936" y="0"/>
                  <a:pt x="6946950" y="0"/>
                </a:cubicBezTo>
                <a:close/>
              </a:path>
            </a:pathLst>
          </a:custGeom>
        </p:spPr>
        <p:txBody>
          <a:bodyPr wrap="square">
            <a:noAutofit/>
          </a:bodyPr>
          <a:lstStyle/>
          <a:p>
            <a:endParaRPr lang="nb-NO"/>
          </a:p>
        </p:txBody>
      </p:sp>
      <p:sp>
        <p:nvSpPr>
          <p:cNvPr id="20" name="Plassholder for tekst 19">
            <a:extLst>
              <a:ext uri="{FF2B5EF4-FFF2-40B4-BE49-F238E27FC236}">
                <a16:creationId xmlns:a16="http://schemas.microsoft.com/office/drawing/2014/main" id="{F1F37A79-4AB3-EDFB-D51F-0E8A0EE8A6D0}"/>
              </a:ext>
            </a:extLst>
          </p:cNvPr>
          <p:cNvSpPr>
            <a:spLocks noGrp="1"/>
          </p:cNvSpPr>
          <p:nvPr>
            <p:ph type="body" sz="quarter" idx="11" hasCustomPrompt="1"/>
          </p:nvPr>
        </p:nvSpPr>
        <p:spPr>
          <a:xfrm>
            <a:off x="740826" y="713655"/>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3270650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8" name="Bilde 17">
            <a:extLst>
              <a:ext uri="{FF2B5EF4-FFF2-40B4-BE49-F238E27FC236}">
                <a16:creationId xmlns:a16="http://schemas.microsoft.com/office/drawing/2014/main" id="{BCEC2D05-AAEE-5462-0C9E-CAE39FB9F845}"/>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20" name="Bilde 19">
            <a:extLst>
              <a:ext uri="{FF2B5EF4-FFF2-40B4-BE49-F238E27FC236}">
                <a16:creationId xmlns:a16="http://schemas.microsoft.com/office/drawing/2014/main" id="{8E02C599-1505-07FE-7946-0DAC86FBBB56}"/>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21" name="Plassholder for tekst 5">
            <a:extLst>
              <a:ext uri="{FF2B5EF4-FFF2-40B4-BE49-F238E27FC236}">
                <a16:creationId xmlns:a16="http://schemas.microsoft.com/office/drawing/2014/main" id="{41DB37A2-5EC0-9B30-9361-F79FF6B09019}"/>
              </a:ext>
            </a:extLst>
          </p:cNvPr>
          <p:cNvSpPr>
            <a:spLocks noGrp="1"/>
          </p:cNvSpPr>
          <p:nvPr>
            <p:ph type="body" sz="quarter" idx="12" hasCustomPrompt="1"/>
          </p:nvPr>
        </p:nvSpPr>
        <p:spPr>
          <a:xfrm>
            <a:off x="959978" y="2072789"/>
            <a:ext cx="9905246"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TekstSylinder 21">
            <a:extLst>
              <a:ext uri="{FF2B5EF4-FFF2-40B4-BE49-F238E27FC236}">
                <a16:creationId xmlns:a16="http://schemas.microsoft.com/office/drawing/2014/main" id="{21A404DB-FAF3-EB3E-46A7-967B3206B56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369909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animEffect transition="in" filter="fade">
                                      <p:cBhvr>
                                        <p:cTn id="15" dur="500"/>
                                        <p:tgtEl>
                                          <p:spTgt spid="21">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1">
                                            <p:txEl>
                                              <p:pRg st="2" end="2"/>
                                            </p:txEl>
                                          </p:spTgt>
                                        </p:tgtEl>
                                        <p:attrNameLst>
                                          <p:attrName>style.visibility</p:attrName>
                                        </p:attrNameLst>
                                      </p:cBhvr>
                                      <p:to>
                                        <p:strVal val="visible"/>
                                      </p:to>
                                    </p:set>
                                    <p:animEffect transition="in" filter="fade">
                                      <p:cBhvr>
                                        <p:cTn id="19" dur="500"/>
                                        <p:tgtEl>
                                          <p:spTgt spid="2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4" name="Plassholder for tekst 5">
            <a:extLst>
              <a:ext uri="{FF2B5EF4-FFF2-40B4-BE49-F238E27FC236}">
                <a16:creationId xmlns:a16="http://schemas.microsoft.com/office/drawing/2014/main" id="{48F06024-47B2-00DD-BC6B-70052549105D}"/>
              </a:ext>
            </a:extLst>
          </p:cNvPr>
          <p:cNvSpPr>
            <a:spLocks noGrp="1"/>
          </p:cNvSpPr>
          <p:nvPr>
            <p:ph type="body" sz="quarter" idx="14" hasCustomPrompt="1"/>
          </p:nvPr>
        </p:nvSpPr>
        <p:spPr>
          <a:xfrm>
            <a:off x="959978" y="2072789"/>
            <a:ext cx="63801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E25EEA7D-F755-0E2F-86BB-903EBBDFA51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29244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6" name="Bilde 5">
            <a:extLst>
              <a:ext uri="{FF2B5EF4-FFF2-40B4-BE49-F238E27FC236}">
                <a16:creationId xmlns:a16="http://schemas.microsoft.com/office/drawing/2014/main" id="{49AC0B22-2540-BCDB-3FFE-F525639FC5E9}"/>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7" name="Bilde 6">
            <a:extLst>
              <a:ext uri="{FF2B5EF4-FFF2-40B4-BE49-F238E27FC236}">
                <a16:creationId xmlns:a16="http://schemas.microsoft.com/office/drawing/2014/main" id="{0B21BD34-F90B-A525-2E02-6765BEFA9739}"/>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12" name="Plassholder for tekst 5">
            <a:extLst>
              <a:ext uri="{FF2B5EF4-FFF2-40B4-BE49-F238E27FC236}">
                <a16:creationId xmlns:a16="http://schemas.microsoft.com/office/drawing/2014/main" id="{F79E92D7-0D46-6F59-6023-44ECFEC282B9}"/>
              </a:ext>
            </a:extLst>
          </p:cNvPr>
          <p:cNvSpPr>
            <a:spLocks noGrp="1"/>
          </p:cNvSpPr>
          <p:nvPr>
            <p:ph type="body" sz="quarter" idx="15"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13" name="TekstSylinder 12">
            <a:extLst>
              <a:ext uri="{FF2B5EF4-FFF2-40B4-BE49-F238E27FC236}">
                <a16:creationId xmlns:a16="http://schemas.microsoft.com/office/drawing/2014/main" id="{5E27AD9E-F178-0AAD-27F9-514AFE9D995F}"/>
              </a:ext>
            </a:extLst>
          </p:cNvPr>
          <p:cNvSpPr txBox="1"/>
          <p:nvPr userDrawn="1"/>
        </p:nvSpPr>
        <p:spPr>
          <a:xfrm>
            <a:off x="56335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76889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78B0E417-D9F4-7661-3F80-7AB11317B6A7}"/>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AC4D98AA-0BB8-57BF-21D6-F9EB2A460E9B}"/>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186405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ontel marketing service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2">
            <a:extLst>
              <a:ext uri="{FF2B5EF4-FFF2-40B4-BE49-F238E27FC236}">
                <a16:creationId xmlns:a16="http://schemas.microsoft.com/office/drawing/2014/main" id="{00D1DA68-C4CD-C9AD-6A1E-AFEE152C83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55736" y="2241149"/>
            <a:ext cx="7822079" cy="1228689"/>
          </a:xfrm>
          <a:prstGeom prst="rect">
            <a:avLst/>
          </a:prstGeom>
        </p:spPr>
      </p:pic>
    </p:spTree>
    <p:extLst>
      <p:ext uri="{BB962C8B-B14F-4D97-AF65-F5344CB8AC3E}">
        <p14:creationId xmlns:p14="http://schemas.microsoft.com/office/powerpoint/2010/main" val="22607815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4"/>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6" name="Bilde 15">
            <a:extLst>
              <a:ext uri="{FF2B5EF4-FFF2-40B4-BE49-F238E27FC236}">
                <a16:creationId xmlns:a16="http://schemas.microsoft.com/office/drawing/2014/main" id="{9753D280-87B9-6A63-AA05-1734BEB5D767}"/>
              </a:ext>
            </a:extLst>
          </p:cNvPr>
          <p:cNvPicPr>
            <a:picLocks noChangeAspect="1"/>
          </p:cNvPicPr>
          <p:nvPr userDrawn="1"/>
        </p:nvPicPr>
        <p:blipFill>
          <a:blip r:embed="rId4"/>
          <a:stretch>
            <a:fillRect/>
          </a:stretch>
        </p:blipFill>
        <p:spPr>
          <a:xfrm>
            <a:off x="11538368" y="226074"/>
            <a:ext cx="412365" cy="412365"/>
          </a:xfrm>
          <a:prstGeom prst="rect">
            <a:avLst/>
          </a:prstGeom>
        </p:spPr>
      </p:pic>
      <p:sp>
        <p:nvSpPr>
          <p:cNvPr id="19" name="Plassholder for tekst 5">
            <a:extLst>
              <a:ext uri="{FF2B5EF4-FFF2-40B4-BE49-F238E27FC236}">
                <a16:creationId xmlns:a16="http://schemas.microsoft.com/office/drawing/2014/main" id="{3C06FB5F-E4FE-5E5D-B392-09A3D94DBC17}"/>
              </a:ext>
            </a:extLst>
          </p:cNvPr>
          <p:cNvSpPr>
            <a:spLocks noGrp="1"/>
          </p:cNvSpPr>
          <p:nvPr>
            <p:ph type="body" sz="quarter" idx="12" hasCustomPrompt="1"/>
          </p:nvPr>
        </p:nvSpPr>
        <p:spPr>
          <a:xfrm>
            <a:off x="960438" y="2063750"/>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20" name="Bilde 19">
            <a:extLst>
              <a:ext uri="{FF2B5EF4-FFF2-40B4-BE49-F238E27FC236}">
                <a16:creationId xmlns:a16="http://schemas.microsoft.com/office/drawing/2014/main" id="{888ECCA7-1733-A11C-808B-D86014E29B6C}"/>
              </a:ext>
            </a:extLst>
          </p:cNvPr>
          <p:cNvPicPr>
            <a:picLocks noChangeAspect="1"/>
          </p:cNvPicPr>
          <p:nvPr userDrawn="1"/>
        </p:nvPicPr>
        <p:blipFill>
          <a:blip r:embed="rId5">
            <a:alphaModFix amt="25000"/>
          </a:blip>
          <a:stretch>
            <a:fillRect/>
          </a:stretch>
        </p:blipFill>
        <p:spPr>
          <a:xfrm>
            <a:off x="10471506" y="4152452"/>
            <a:ext cx="2866913" cy="2866913"/>
          </a:xfrm>
          <a:prstGeom prst="rect">
            <a:avLst/>
          </a:prstGeom>
        </p:spPr>
      </p:pic>
      <p:sp>
        <p:nvSpPr>
          <p:cNvPr id="21" name="TekstSylinder 20">
            <a:extLst>
              <a:ext uri="{FF2B5EF4-FFF2-40B4-BE49-F238E27FC236}">
                <a16:creationId xmlns:a16="http://schemas.microsoft.com/office/drawing/2014/main" id="{974579F4-F0F1-DBB3-261C-985D8E373EB1}"/>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80610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9">
                                            <p:txEl>
                                              <p:pRg st="1" end="1"/>
                                            </p:txEl>
                                          </p:spTgt>
                                        </p:tgtEl>
                                        <p:attrNameLst>
                                          <p:attrName>style.visibility</p:attrName>
                                        </p:attrNameLst>
                                      </p:cBhvr>
                                      <p:to>
                                        <p:strVal val="visible"/>
                                      </p:to>
                                    </p:set>
                                    <p:animEffect transition="in" filter="fade">
                                      <p:cBhvr>
                                        <p:cTn id="15" dur="500"/>
                                        <p:tgtEl>
                                          <p:spTgt spid="1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9">
                                            <p:txEl>
                                              <p:pRg st="2" end="2"/>
                                            </p:txEl>
                                          </p:spTgt>
                                        </p:tgtEl>
                                        <p:attrNameLst>
                                          <p:attrName>style.visibility</p:attrName>
                                        </p:attrNameLst>
                                      </p:cBhvr>
                                      <p:to>
                                        <p:strVal val="visible"/>
                                      </p:to>
                                    </p:set>
                                    <p:animEffect transition="in" filter="fade">
                                      <p:cBhvr>
                                        <p:cTn id="19" dur="500"/>
                                        <p:tgtEl>
                                          <p:spTgt spid="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5">
            <a:extLst>
              <a:ext uri="{FF2B5EF4-FFF2-40B4-BE49-F238E27FC236}">
                <a16:creationId xmlns:a16="http://schemas.microsoft.com/office/drawing/2014/main" id="{B9FA322F-3FC6-E440-42BD-0BDACD1D0967}"/>
              </a:ext>
            </a:extLst>
          </p:cNvPr>
          <p:cNvSpPr>
            <a:spLocks noGrp="1"/>
          </p:cNvSpPr>
          <p:nvPr>
            <p:ph type="body" sz="quarter" idx="12" hasCustomPrompt="1"/>
          </p:nvPr>
        </p:nvSpPr>
        <p:spPr>
          <a:xfrm>
            <a:off x="960438" y="2063750"/>
            <a:ext cx="6380163"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TekstSylinder 2">
            <a:extLst>
              <a:ext uri="{FF2B5EF4-FFF2-40B4-BE49-F238E27FC236}">
                <a16:creationId xmlns:a16="http://schemas.microsoft.com/office/drawing/2014/main" id="{415565FE-E5C2-0F4B-5D74-FE5058500ACC}"/>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207770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Bilde 9">
            <a:extLst>
              <a:ext uri="{FF2B5EF4-FFF2-40B4-BE49-F238E27FC236}">
                <a16:creationId xmlns:a16="http://schemas.microsoft.com/office/drawing/2014/main" id="{81C0186A-099E-A4CA-06A9-9EB9FDE3CE3E}"/>
              </a:ext>
            </a:extLst>
          </p:cNvPr>
          <p:cNvPicPr>
            <a:picLocks noChangeAspect="1"/>
          </p:cNvPicPr>
          <p:nvPr userDrawn="1"/>
        </p:nvPicPr>
        <p:blipFill>
          <a:blip r:embed="rId2"/>
          <a:stretch>
            <a:fillRect/>
          </a:stretch>
        </p:blipFill>
        <p:spPr>
          <a:xfrm>
            <a:off x="11538368" y="226074"/>
            <a:ext cx="412365" cy="412365"/>
          </a:xfrm>
          <a:prstGeom prst="rect">
            <a:avLst/>
          </a:prstGeom>
        </p:spPr>
      </p:pic>
      <p:sp>
        <p:nvSpPr>
          <p:cNvPr id="13" name="Plassholder for tekst 5">
            <a:extLst>
              <a:ext uri="{FF2B5EF4-FFF2-40B4-BE49-F238E27FC236}">
                <a16:creationId xmlns:a16="http://schemas.microsoft.com/office/drawing/2014/main" id="{B98B9A2D-025D-64F7-A6F4-DB096813C14A}"/>
              </a:ext>
            </a:extLst>
          </p:cNvPr>
          <p:cNvSpPr>
            <a:spLocks noGrp="1"/>
          </p:cNvSpPr>
          <p:nvPr>
            <p:ph type="body" sz="quarter" idx="12"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EEE57DB0-1F7F-B527-1814-B95D0C615399}"/>
              </a:ext>
            </a:extLst>
          </p:cNvPr>
          <p:cNvPicPr>
            <a:picLocks noChangeAspect="1"/>
          </p:cNvPicPr>
          <p:nvPr userDrawn="1"/>
        </p:nvPicPr>
        <p:blipFill>
          <a:blip r:embed="rId3">
            <a:alphaModFix amt="25000"/>
          </a:blip>
          <a:stretch>
            <a:fillRect/>
          </a:stretch>
        </p:blipFill>
        <p:spPr>
          <a:xfrm>
            <a:off x="10471506" y="4152452"/>
            <a:ext cx="2866913" cy="2866913"/>
          </a:xfrm>
          <a:prstGeom prst="rect">
            <a:avLst/>
          </a:prstGeom>
        </p:spPr>
      </p:pic>
      <p:sp>
        <p:nvSpPr>
          <p:cNvPr id="17" name="TekstSylinder 16">
            <a:extLst>
              <a:ext uri="{FF2B5EF4-FFF2-40B4-BE49-F238E27FC236}">
                <a16:creationId xmlns:a16="http://schemas.microsoft.com/office/drawing/2014/main" id="{60C04BBE-5EE1-30CB-A9D1-0E365E716C9A}"/>
              </a:ext>
            </a:extLst>
          </p:cNvPr>
          <p:cNvSpPr txBox="1"/>
          <p:nvPr userDrawn="1"/>
        </p:nvSpPr>
        <p:spPr>
          <a:xfrm>
            <a:off x="56335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79334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17784840-E013-C132-7D4A-84D7F11C5C0F}"/>
              </a:ext>
            </a:extLst>
          </p:cNvPr>
          <p:cNvSpPr>
            <a:spLocks noGrp="1"/>
          </p:cNvSpPr>
          <p:nvPr>
            <p:ph type="body" sz="quarter" idx="12"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1" name="TekstSylinder 10">
            <a:extLst>
              <a:ext uri="{FF2B5EF4-FFF2-40B4-BE49-F238E27FC236}">
                <a16:creationId xmlns:a16="http://schemas.microsoft.com/office/drawing/2014/main" id="{8DD1CF18-CE6A-9386-5698-802543B3B148}"/>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05443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ontel risk management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3">
            <a:extLst>
              <a:ext uri="{FF2B5EF4-FFF2-40B4-BE49-F238E27FC236}">
                <a16:creationId xmlns:a16="http://schemas.microsoft.com/office/drawing/2014/main" id="{670C1164-37E7-B994-BA1F-9CC39F2D4B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238124"/>
            <a:ext cx="7529481" cy="1214984"/>
          </a:xfrm>
          <a:prstGeom prst="rect">
            <a:avLst/>
          </a:prstGeom>
        </p:spPr>
      </p:pic>
    </p:spTree>
    <p:extLst>
      <p:ext uri="{BB962C8B-B14F-4D97-AF65-F5344CB8AC3E}">
        <p14:creationId xmlns:p14="http://schemas.microsoft.com/office/powerpoint/2010/main" val="1892600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Payoff + Image 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7BC1783-48CA-E7AC-6E4F-AA5F59FB47BD}"/>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616136" y="6154778"/>
            <a:ext cx="1771858" cy="320841"/>
          </a:xfrm>
          <a:prstGeom prst="rect">
            <a:avLst/>
          </a:prstGeom>
        </p:spPr>
      </p:pic>
      <p:sp>
        <p:nvSpPr>
          <p:cNvPr id="36" name="Plassholder for bilde 35">
            <a:extLst>
              <a:ext uri="{FF2B5EF4-FFF2-40B4-BE49-F238E27FC236}">
                <a16:creationId xmlns:a16="http://schemas.microsoft.com/office/drawing/2014/main" id="{FCD34059-1E74-01C7-5238-8E73F252D73E}"/>
              </a:ext>
            </a:extLst>
          </p:cNvPr>
          <p:cNvSpPr>
            <a:spLocks noGrp="1"/>
          </p:cNvSpPr>
          <p:nvPr>
            <p:ph type="pic" sz="quarter" idx="10"/>
          </p:nvPr>
        </p:nvSpPr>
        <p:spPr>
          <a:xfrm>
            <a:off x="5664590" y="498767"/>
            <a:ext cx="10345430" cy="5976852"/>
          </a:xfrm>
          <a:custGeom>
            <a:avLst/>
            <a:gdLst>
              <a:gd name="connsiteX0" fmla="*/ 409306 w 10345430"/>
              <a:gd name="connsiteY0" fmla="*/ 0 h 6381972"/>
              <a:gd name="connsiteX1" fmla="*/ 9936124 w 10345430"/>
              <a:gd name="connsiteY1" fmla="*/ 0 h 6381972"/>
              <a:gd name="connsiteX2" fmla="*/ 10345430 w 10345430"/>
              <a:gd name="connsiteY2" fmla="*/ 408986 h 6381972"/>
              <a:gd name="connsiteX3" fmla="*/ 10345430 w 10345430"/>
              <a:gd name="connsiteY3" fmla="*/ 5972986 h 6381972"/>
              <a:gd name="connsiteX4" fmla="*/ 9936124 w 10345430"/>
              <a:gd name="connsiteY4" fmla="*/ 6381972 h 6381972"/>
              <a:gd name="connsiteX5" fmla="*/ 409306 w 10345430"/>
              <a:gd name="connsiteY5" fmla="*/ 6381972 h 6381972"/>
              <a:gd name="connsiteX6" fmla="*/ 0 w 10345430"/>
              <a:gd name="connsiteY6" fmla="*/ 5972986 h 6381972"/>
              <a:gd name="connsiteX7" fmla="*/ 0 w 10345430"/>
              <a:gd name="connsiteY7" fmla="*/ 408986 h 6381972"/>
              <a:gd name="connsiteX8" fmla="*/ 409306 w 10345430"/>
              <a:gd name="connsiteY8" fmla="*/ 0 h 638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5430" h="6381972">
                <a:moveTo>
                  <a:pt x="409306" y="0"/>
                </a:moveTo>
                <a:lnTo>
                  <a:pt x="9936124" y="0"/>
                </a:lnTo>
                <a:cubicBezTo>
                  <a:pt x="10162178" y="0"/>
                  <a:pt x="10345430" y="183109"/>
                  <a:pt x="10345430" y="408986"/>
                </a:cubicBezTo>
                <a:lnTo>
                  <a:pt x="10345430" y="5972986"/>
                </a:lnTo>
                <a:cubicBezTo>
                  <a:pt x="10345430" y="6198863"/>
                  <a:pt x="10162178" y="6381972"/>
                  <a:pt x="9936124" y="6381972"/>
                </a:cubicBezTo>
                <a:lnTo>
                  <a:pt x="409306" y="6381972"/>
                </a:lnTo>
                <a:cubicBezTo>
                  <a:pt x="183253" y="6381972"/>
                  <a:pt x="0" y="6198863"/>
                  <a:pt x="0" y="5972986"/>
                </a:cubicBezTo>
                <a:lnTo>
                  <a:pt x="0" y="408986"/>
                </a:lnTo>
                <a:cubicBezTo>
                  <a:pt x="0" y="183109"/>
                  <a:pt x="183253" y="0"/>
                  <a:pt x="409306" y="0"/>
                </a:cubicBezTo>
                <a:close/>
              </a:path>
            </a:pathLst>
          </a:custGeom>
        </p:spPr>
        <p:txBody>
          <a:bodyPr wrap="square">
            <a:noAutofit/>
          </a:bodyPr>
          <a:lstStyle/>
          <a:p>
            <a:endParaRPr lang="nb-NO"/>
          </a:p>
        </p:txBody>
      </p:sp>
      <p:sp>
        <p:nvSpPr>
          <p:cNvPr id="39" name="Plassholder for tekst 19">
            <a:extLst>
              <a:ext uri="{FF2B5EF4-FFF2-40B4-BE49-F238E27FC236}">
                <a16:creationId xmlns:a16="http://schemas.microsoft.com/office/drawing/2014/main" id="{6C737439-2242-7421-E550-920B94BAD3DC}"/>
              </a:ext>
            </a:extLst>
          </p:cNvPr>
          <p:cNvSpPr>
            <a:spLocks noGrp="1"/>
          </p:cNvSpPr>
          <p:nvPr>
            <p:ph type="body" sz="quarter" idx="11" hasCustomPrompt="1"/>
          </p:nvPr>
        </p:nvSpPr>
        <p:spPr>
          <a:xfrm>
            <a:off x="616136" y="533171"/>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786637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849B8E55-AE34-BC4F-3C35-3F139DEB711C}"/>
              </a:ext>
            </a:extLst>
          </p:cNvPr>
          <p:cNvPicPr>
            <a:picLocks noChangeAspect="1"/>
          </p:cNvPicPr>
          <p:nvPr userDrawn="1"/>
        </p:nvPicPr>
        <p:blipFill>
          <a:blip r:embed="rId4"/>
          <a:stretch>
            <a:fillRect/>
          </a:stretch>
        </p:blipFill>
        <p:spPr>
          <a:xfrm>
            <a:off x="11538368" y="223863"/>
            <a:ext cx="422816" cy="422816"/>
          </a:xfrm>
          <a:prstGeom prst="rect">
            <a:avLst/>
          </a:prstGeom>
        </p:spPr>
      </p:pic>
      <p:pic>
        <p:nvPicPr>
          <p:cNvPr id="13" name="Bilde 12">
            <a:extLst>
              <a:ext uri="{FF2B5EF4-FFF2-40B4-BE49-F238E27FC236}">
                <a16:creationId xmlns:a16="http://schemas.microsoft.com/office/drawing/2014/main" id="{D36615BD-3C04-E957-CB26-31F848FF9B97}"/>
              </a:ext>
            </a:extLst>
          </p:cNvPr>
          <p:cNvPicPr>
            <a:picLocks noChangeAspect="1"/>
          </p:cNvPicPr>
          <p:nvPr userDrawn="1"/>
        </p:nvPicPr>
        <p:blipFill>
          <a:blip r:embed="rId5">
            <a:alphaModFix amt="30000"/>
          </a:blip>
          <a:stretch>
            <a:fillRect/>
          </a:stretch>
        </p:blipFill>
        <p:spPr>
          <a:xfrm>
            <a:off x="10469341" y="4727450"/>
            <a:ext cx="2326479" cy="2541358"/>
          </a:xfrm>
          <a:prstGeom prst="rect">
            <a:avLst/>
          </a:prstGeom>
        </p:spPr>
      </p:pic>
      <p:sp>
        <p:nvSpPr>
          <p:cNvPr id="16" name="Plassholder for tekst 5">
            <a:extLst>
              <a:ext uri="{FF2B5EF4-FFF2-40B4-BE49-F238E27FC236}">
                <a16:creationId xmlns:a16="http://schemas.microsoft.com/office/drawing/2014/main" id="{176B2F9E-0111-9960-BD0E-4BE2C231AF1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8" name="TekstSylinder 17">
            <a:extLst>
              <a:ext uri="{FF2B5EF4-FFF2-40B4-BE49-F238E27FC236}">
                <a16:creationId xmlns:a16="http://schemas.microsoft.com/office/drawing/2014/main" id="{EBE3295C-9DB8-8A9D-2F48-FBD44A3AFBA1}"/>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823130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18AAD13C-7BAA-3073-E34D-6C47BF9BE923}"/>
              </a:ext>
            </a:extLst>
          </p:cNvPr>
          <p:cNvSpPr>
            <a:spLocks noGrp="1"/>
          </p:cNvSpPr>
          <p:nvPr>
            <p:ph type="body" sz="quarter" idx="16" hasCustomPrompt="1"/>
          </p:nvPr>
        </p:nvSpPr>
        <p:spPr>
          <a:xfrm>
            <a:off x="959978" y="2072789"/>
            <a:ext cx="608628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D72741D-5808-A477-CE46-341710C6A48E}"/>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66088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A977EE6E-8834-D202-2841-D68CDFC995F7}"/>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Bilde 9">
            <a:extLst>
              <a:ext uri="{FF2B5EF4-FFF2-40B4-BE49-F238E27FC236}">
                <a16:creationId xmlns:a16="http://schemas.microsoft.com/office/drawing/2014/main" id="{6C4FBD22-99B3-25D3-2BFD-7E652B5F42F4}"/>
              </a:ext>
            </a:extLst>
          </p:cNvPr>
          <p:cNvPicPr>
            <a:picLocks noChangeAspect="1"/>
          </p:cNvPicPr>
          <p:nvPr userDrawn="1"/>
        </p:nvPicPr>
        <p:blipFill>
          <a:blip r:embed="rId2">
            <a:alphaModFix amt="30000"/>
          </a:blip>
          <a:stretch>
            <a:fillRect/>
          </a:stretch>
        </p:blipFill>
        <p:spPr>
          <a:xfrm>
            <a:off x="10469341" y="4727450"/>
            <a:ext cx="2326479" cy="2541358"/>
          </a:xfrm>
          <a:prstGeom prst="rect">
            <a:avLst/>
          </a:prstGeom>
        </p:spPr>
      </p:pic>
      <p:pic>
        <p:nvPicPr>
          <p:cNvPr id="12" name="Bilde 11">
            <a:extLst>
              <a:ext uri="{FF2B5EF4-FFF2-40B4-BE49-F238E27FC236}">
                <a16:creationId xmlns:a16="http://schemas.microsoft.com/office/drawing/2014/main" id="{026BB662-E771-C7C5-9F1A-7B227E585795}"/>
              </a:ext>
            </a:extLst>
          </p:cNvPr>
          <p:cNvPicPr>
            <a:picLocks noChangeAspect="1"/>
          </p:cNvPicPr>
          <p:nvPr userDrawn="1"/>
        </p:nvPicPr>
        <p:blipFill>
          <a:blip r:embed="rId3"/>
          <a:stretch>
            <a:fillRect/>
          </a:stretch>
        </p:blipFill>
        <p:spPr>
          <a:xfrm>
            <a:off x="11538368" y="223863"/>
            <a:ext cx="422816" cy="422816"/>
          </a:xfrm>
          <a:prstGeom prst="rect">
            <a:avLst/>
          </a:prstGeom>
        </p:spPr>
      </p:pic>
      <p:sp>
        <p:nvSpPr>
          <p:cNvPr id="13" name="TekstSylinder 12">
            <a:extLst>
              <a:ext uri="{FF2B5EF4-FFF2-40B4-BE49-F238E27FC236}">
                <a16:creationId xmlns:a16="http://schemas.microsoft.com/office/drawing/2014/main" id="{475A21D4-0D45-BC60-7963-1CAE78BBB514}"/>
              </a:ext>
            </a:extLst>
          </p:cNvPr>
          <p:cNvSpPr txBox="1"/>
          <p:nvPr userDrawn="1"/>
        </p:nvSpPr>
        <p:spPr>
          <a:xfrm>
            <a:off x="56335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398727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3311C4FB-E54E-532E-8876-B35A4F55019D}"/>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F122117C-CCD4-2064-CC00-01608B3E452D}"/>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344427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ontel event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6">
            <a:extLst>
              <a:ext uri="{FF2B5EF4-FFF2-40B4-BE49-F238E27FC236}">
                <a16:creationId xmlns:a16="http://schemas.microsoft.com/office/drawing/2014/main" id="{A559E273-D079-B8BF-1696-FFE6185EB1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6" y="1988839"/>
            <a:ext cx="5201296" cy="1722980"/>
          </a:xfrm>
          <a:prstGeom prst="rect">
            <a:avLst/>
          </a:prstGeom>
        </p:spPr>
      </p:pic>
    </p:spTree>
    <p:extLst>
      <p:ext uri="{BB962C8B-B14F-4D97-AF65-F5344CB8AC3E}">
        <p14:creationId xmlns:p14="http://schemas.microsoft.com/office/powerpoint/2010/main" val="13892238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23C42E47-392E-B921-116D-DBF91E131D3A}"/>
              </a:ext>
            </a:extLst>
          </p:cNvPr>
          <p:cNvPicPr>
            <a:picLocks noChangeAspect="1"/>
          </p:cNvPicPr>
          <p:nvPr userDrawn="1"/>
        </p:nvPicPr>
        <p:blipFill>
          <a:blip r:embed="rId4"/>
          <a:stretch>
            <a:fillRect/>
          </a:stretch>
        </p:blipFill>
        <p:spPr>
          <a:xfrm>
            <a:off x="11538366" y="232679"/>
            <a:ext cx="422817" cy="422817"/>
          </a:xfrm>
          <a:prstGeom prst="rect">
            <a:avLst/>
          </a:prstGeom>
        </p:spPr>
      </p:pic>
      <p:pic>
        <p:nvPicPr>
          <p:cNvPr id="13" name="Bilde 12">
            <a:extLst>
              <a:ext uri="{FF2B5EF4-FFF2-40B4-BE49-F238E27FC236}">
                <a16:creationId xmlns:a16="http://schemas.microsoft.com/office/drawing/2014/main" id="{6CA85AB7-6971-8416-7727-01D460C920AF}"/>
              </a:ext>
            </a:extLst>
          </p:cNvPr>
          <p:cNvPicPr>
            <a:picLocks noChangeAspect="1"/>
          </p:cNvPicPr>
          <p:nvPr userDrawn="1"/>
        </p:nvPicPr>
        <p:blipFill>
          <a:blip r:embed="rId5">
            <a:alphaModFix amt="30000"/>
          </a:blip>
          <a:stretch>
            <a:fillRect/>
          </a:stretch>
        </p:blipFill>
        <p:spPr>
          <a:xfrm>
            <a:off x="10283698" y="4973725"/>
            <a:ext cx="2221353" cy="2221353"/>
          </a:xfrm>
          <a:prstGeom prst="rect">
            <a:avLst/>
          </a:prstGeom>
        </p:spPr>
      </p:pic>
      <p:sp>
        <p:nvSpPr>
          <p:cNvPr id="15" name="Plassholder for tekst 5">
            <a:extLst>
              <a:ext uri="{FF2B5EF4-FFF2-40B4-BE49-F238E27FC236}">
                <a16:creationId xmlns:a16="http://schemas.microsoft.com/office/drawing/2014/main" id="{DB85B4DF-C4B2-8DA3-F55F-620BA0E3F8AC}"/>
              </a:ext>
            </a:extLst>
          </p:cNvPr>
          <p:cNvSpPr>
            <a:spLocks noGrp="1"/>
          </p:cNvSpPr>
          <p:nvPr>
            <p:ph type="body" sz="quarter" idx="16" hasCustomPrompt="1"/>
          </p:nvPr>
        </p:nvSpPr>
        <p:spPr>
          <a:xfrm>
            <a:off x="959978" y="2072789"/>
            <a:ext cx="9181088"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7" name="TekstSylinder 16">
            <a:extLst>
              <a:ext uri="{FF2B5EF4-FFF2-40B4-BE49-F238E27FC236}">
                <a16:creationId xmlns:a16="http://schemas.microsoft.com/office/drawing/2014/main" id="{06E4ED4B-1BCC-B523-E7B0-99B5F178A906}"/>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404740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animEffect transition="in" filter="fade">
                                      <p:cBhvr>
                                        <p:cTn id="15" dur="500"/>
                                        <p:tgtEl>
                                          <p:spTgt spid="15">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animEffect transition="in" filter="fade">
                                      <p:cBhvr>
                                        <p:cTn id="19"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0D03B8D-0D29-78CC-D194-E9B5F9153CE4}"/>
              </a:ext>
            </a:extLst>
          </p:cNvPr>
          <p:cNvSpPr>
            <a:spLocks noGrp="1"/>
          </p:cNvSpPr>
          <p:nvPr>
            <p:ph type="body" sz="quarter" idx="16" hasCustomPrompt="1"/>
          </p:nvPr>
        </p:nvSpPr>
        <p:spPr>
          <a:xfrm>
            <a:off x="959978" y="2072789"/>
            <a:ext cx="594643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E0626223-7550-3AC9-8CDA-BE43428B979B}"/>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1314851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0EF7116F-9018-CDB6-7FBC-029F7835673A}"/>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B9D33007-C083-AB49-0661-798BF43493A5}"/>
              </a:ext>
            </a:extLst>
          </p:cNvPr>
          <p:cNvPicPr>
            <a:picLocks noChangeAspect="1"/>
          </p:cNvPicPr>
          <p:nvPr userDrawn="1"/>
        </p:nvPicPr>
        <p:blipFill>
          <a:blip r:embed="rId2">
            <a:alphaModFix amt="30000"/>
          </a:blip>
          <a:stretch>
            <a:fillRect/>
          </a:stretch>
        </p:blipFill>
        <p:spPr>
          <a:xfrm>
            <a:off x="10283698" y="4973725"/>
            <a:ext cx="2221353" cy="2221353"/>
          </a:xfrm>
          <a:prstGeom prst="rect">
            <a:avLst/>
          </a:prstGeom>
        </p:spPr>
      </p:pic>
      <p:pic>
        <p:nvPicPr>
          <p:cNvPr id="13" name="Bilde 12">
            <a:extLst>
              <a:ext uri="{FF2B5EF4-FFF2-40B4-BE49-F238E27FC236}">
                <a16:creationId xmlns:a16="http://schemas.microsoft.com/office/drawing/2014/main" id="{99E7E3A6-B9EA-C622-E97B-D97326FFD115}"/>
              </a:ext>
            </a:extLst>
          </p:cNvPr>
          <p:cNvPicPr>
            <a:picLocks noChangeAspect="1"/>
          </p:cNvPicPr>
          <p:nvPr userDrawn="1"/>
        </p:nvPicPr>
        <p:blipFill>
          <a:blip r:embed="rId3"/>
          <a:stretch>
            <a:fillRect/>
          </a:stretch>
        </p:blipFill>
        <p:spPr>
          <a:xfrm>
            <a:off x="11538366" y="232679"/>
            <a:ext cx="422817" cy="422817"/>
          </a:xfrm>
          <a:prstGeom prst="rect">
            <a:avLst/>
          </a:prstGeom>
        </p:spPr>
      </p:pic>
      <p:sp>
        <p:nvSpPr>
          <p:cNvPr id="14" name="TekstSylinder 13">
            <a:extLst>
              <a:ext uri="{FF2B5EF4-FFF2-40B4-BE49-F238E27FC236}">
                <a16:creationId xmlns:a16="http://schemas.microsoft.com/office/drawing/2014/main" id="{979B0FBD-6B4A-2129-8D58-D8C74CDCF604}"/>
              </a:ext>
            </a:extLst>
          </p:cNvPr>
          <p:cNvSpPr txBox="1"/>
          <p:nvPr userDrawn="1"/>
        </p:nvSpPr>
        <p:spPr>
          <a:xfrm>
            <a:off x="56335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86272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F577C597-D2DF-6A8F-05BF-9CA3C43A1EF1}"/>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716C0605-3963-2610-A64D-2F95B2138163}"/>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233311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ontel analysi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2">
            <a:extLst>
              <a:ext uri="{FF2B5EF4-FFF2-40B4-BE49-F238E27FC236}">
                <a16:creationId xmlns:a16="http://schemas.microsoft.com/office/drawing/2014/main" id="{A5D836B5-E5AE-637B-EA18-619B912AE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000524"/>
            <a:ext cx="5930278" cy="1725613"/>
          </a:xfrm>
          <a:prstGeom prst="rect">
            <a:avLst/>
          </a:prstGeom>
        </p:spPr>
      </p:pic>
    </p:spTree>
    <p:extLst>
      <p:ext uri="{BB962C8B-B14F-4D97-AF65-F5344CB8AC3E}">
        <p14:creationId xmlns:p14="http://schemas.microsoft.com/office/powerpoint/2010/main" val="2416768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 + payoff - bubbles and dark backgroun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456D56E1-22A6-AAF0-D581-51E1E974E4AF}"/>
              </a:ext>
            </a:extLst>
          </p:cNvPr>
          <p:cNvPicPr>
            <a:picLocks noChangeAspect="1"/>
          </p:cNvPicPr>
          <p:nvPr userDrawn="1"/>
        </p:nvPicPr>
        <p:blipFill rotWithShape="1">
          <a:blip r:embed="rId2"/>
          <a:srcRect t="6932"/>
          <a:stretch/>
        </p:blipFill>
        <p:spPr>
          <a:xfrm>
            <a:off x="-70338" y="0"/>
            <a:ext cx="12262337" cy="6858000"/>
          </a:xfrm>
          <a:prstGeom prst="rect">
            <a:avLst/>
          </a:prstGeom>
        </p:spPr>
      </p:pic>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500" t="31869" r="12500" b="32409"/>
          <a:stretch/>
        </p:blipFill>
        <p:spPr>
          <a:xfrm>
            <a:off x="9601200" y="5928568"/>
            <a:ext cx="1840366" cy="333247"/>
          </a:xfrm>
          <a:prstGeom prst="rect">
            <a:avLst/>
          </a:prstGeom>
        </p:spPr>
      </p:pic>
      <p:sp>
        <p:nvSpPr>
          <p:cNvPr id="4" name="Plassholder for tekst 19">
            <a:extLst>
              <a:ext uri="{FF2B5EF4-FFF2-40B4-BE49-F238E27FC236}">
                <a16:creationId xmlns:a16="http://schemas.microsoft.com/office/drawing/2014/main" id="{6C57BF06-A03F-8310-1354-6A90D702E235}"/>
              </a:ext>
            </a:extLst>
          </p:cNvPr>
          <p:cNvSpPr>
            <a:spLocks noGrp="1"/>
          </p:cNvSpPr>
          <p:nvPr>
            <p:ph type="body" sz="quarter" idx="10" hasCustomPrompt="1"/>
          </p:nvPr>
        </p:nvSpPr>
        <p:spPr>
          <a:xfrm>
            <a:off x="1068007" y="989962"/>
            <a:ext cx="8471189" cy="1700081"/>
          </a:xfrm>
          <a:prstGeom prst="rect">
            <a:avLst/>
          </a:prstGeom>
        </p:spPr>
        <p:txBody>
          <a:bodyPr anchor="t"/>
          <a:lstStyle>
            <a:lvl1pPr marL="0" indent="0">
              <a:buNone/>
              <a:defRPr sz="5000" b="0" i="0">
                <a:solidFill>
                  <a:schemeClr val="bg1"/>
                </a:solidFill>
                <a:latin typeface="Haffer Light" pitchFamily="2" charset="77"/>
                <a:cs typeface="Haffer Light" pitchFamily="2" charset="77"/>
              </a:defRPr>
            </a:lvl1pPr>
          </a:lstStyle>
          <a:p>
            <a:pPr lvl="0"/>
            <a:r>
              <a:rPr lang="nb-NO"/>
              <a:t>Presentation </a:t>
            </a:r>
            <a:r>
              <a:rPr lang="nb-NO" err="1"/>
              <a:t>title</a:t>
            </a:r>
            <a:endParaRPr lang="nb-NO"/>
          </a:p>
        </p:txBody>
      </p:sp>
    </p:spTree>
    <p:extLst>
      <p:ext uri="{BB962C8B-B14F-4D97-AF65-F5344CB8AC3E}">
        <p14:creationId xmlns:p14="http://schemas.microsoft.com/office/powerpoint/2010/main" val="2847102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4A9587C8-5E5C-F829-AB06-20866578F519}"/>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585E747-9D42-5F15-F330-CA80A97545A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7CB28B4B-968E-B879-B5F4-8E513B6AAAC8}"/>
              </a:ext>
            </a:extLst>
          </p:cNvPr>
          <p:cNvPicPr>
            <a:picLocks noChangeAspect="1"/>
          </p:cNvPicPr>
          <p:nvPr userDrawn="1"/>
        </p:nvPicPr>
        <p:blipFill>
          <a:blip r:embed="rId5">
            <a:alphaModFix amt="30000"/>
          </a:blip>
          <a:stretch>
            <a:fillRect/>
          </a:stretch>
        </p:blipFill>
        <p:spPr>
          <a:xfrm>
            <a:off x="9937733" y="4582044"/>
            <a:ext cx="2588580" cy="2155045"/>
          </a:xfrm>
          <a:prstGeom prst="rect">
            <a:avLst/>
          </a:prstGeom>
        </p:spPr>
      </p:pic>
      <p:sp>
        <p:nvSpPr>
          <p:cNvPr id="16" name="TekstSylinder 15">
            <a:extLst>
              <a:ext uri="{FF2B5EF4-FFF2-40B4-BE49-F238E27FC236}">
                <a16:creationId xmlns:a16="http://schemas.microsoft.com/office/drawing/2014/main" id="{E7568260-739D-9CEB-B861-E3D20EF60A9A}"/>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6672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B547129-12A9-BEC7-747B-D34BB6A04651}"/>
              </a:ext>
            </a:extLst>
          </p:cNvPr>
          <p:cNvSpPr>
            <a:spLocks noGrp="1"/>
          </p:cNvSpPr>
          <p:nvPr>
            <p:ph type="body" sz="quarter" idx="16" hasCustomPrompt="1"/>
          </p:nvPr>
        </p:nvSpPr>
        <p:spPr>
          <a:xfrm>
            <a:off x="959977" y="2072789"/>
            <a:ext cx="59356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92B9CD70-52FC-CD7E-C5CE-D88A3BF6CD5E}"/>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87143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796ADA9A-2FF8-FE6A-244B-2E87CE9999B9}"/>
              </a:ext>
            </a:extLst>
          </p:cNvPr>
          <p:cNvSpPr>
            <a:spLocks noGrp="1"/>
          </p:cNvSpPr>
          <p:nvPr>
            <p:ph type="body" sz="quarter" idx="16" hasCustomPrompt="1"/>
          </p:nvPr>
        </p:nvSpPr>
        <p:spPr>
          <a:xfrm>
            <a:off x="5633372"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4ED4BAC4-8B0B-34FA-47DC-4FCB64B1AC19}"/>
              </a:ext>
            </a:extLst>
          </p:cNvPr>
          <p:cNvPicPr>
            <a:picLocks noChangeAspect="1"/>
          </p:cNvPicPr>
          <p:nvPr userDrawn="1"/>
        </p:nvPicPr>
        <p:blipFill>
          <a:blip r:embed="rId2">
            <a:alphaModFix amt="30000"/>
          </a:blip>
          <a:stretch>
            <a:fillRect/>
          </a:stretch>
        </p:blipFill>
        <p:spPr>
          <a:xfrm>
            <a:off x="9937733" y="4582044"/>
            <a:ext cx="2588580" cy="2155045"/>
          </a:xfrm>
          <a:prstGeom prst="rect">
            <a:avLst/>
          </a:prstGeom>
        </p:spPr>
      </p:pic>
      <p:pic>
        <p:nvPicPr>
          <p:cNvPr id="10" name="Bilde 9">
            <a:extLst>
              <a:ext uri="{FF2B5EF4-FFF2-40B4-BE49-F238E27FC236}">
                <a16:creationId xmlns:a16="http://schemas.microsoft.com/office/drawing/2014/main" id="{DD9673FB-0080-E441-4A17-74EC621E6619}"/>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8C9EBF74-5D29-2670-F710-594D16B9D4BA}"/>
              </a:ext>
            </a:extLst>
          </p:cNvPr>
          <p:cNvSpPr txBox="1"/>
          <p:nvPr userDrawn="1"/>
        </p:nvSpPr>
        <p:spPr>
          <a:xfrm>
            <a:off x="5633372"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363350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BA7EB6EF-1ECB-8DE1-8D91-CE8A4BE00955}"/>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08DB82E0-CC57-0025-17B3-617EC8E1B4A3}"/>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6640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ontel marked data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phic 3">
            <a:extLst>
              <a:ext uri="{FF2B5EF4-FFF2-40B4-BE49-F238E27FC236}">
                <a16:creationId xmlns:a16="http://schemas.microsoft.com/office/drawing/2014/main" id="{AA9AD0D1-BAD8-E320-B37B-3009169F01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7857" y="2279375"/>
            <a:ext cx="5485133" cy="1222106"/>
          </a:xfrm>
          <a:prstGeom prst="rect">
            <a:avLst/>
          </a:prstGeom>
        </p:spPr>
      </p:pic>
    </p:spTree>
    <p:extLst>
      <p:ext uri="{BB962C8B-B14F-4D97-AF65-F5344CB8AC3E}">
        <p14:creationId xmlns:p14="http://schemas.microsoft.com/office/powerpoint/2010/main" val="30772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CD47D778-E563-13D4-811F-7F58DF54F784}"/>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231A7B3-091C-24F1-02A2-FD1A3D3314EF}"/>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664B3E46-4991-1BB1-3558-D4C10DC9BCD0}"/>
              </a:ext>
            </a:extLst>
          </p:cNvPr>
          <p:cNvPicPr>
            <a:picLocks noChangeAspect="1"/>
          </p:cNvPicPr>
          <p:nvPr userDrawn="1"/>
        </p:nvPicPr>
        <p:blipFill>
          <a:blip r:embed="rId5">
            <a:alphaModFix amt="30000"/>
          </a:blip>
          <a:stretch>
            <a:fillRect/>
          </a:stretch>
        </p:blipFill>
        <p:spPr>
          <a:xfrm>
            <a:off x="10189816" y="4305300"/>
            <a:ext cx="2697100" cy="2815509"/>
          </a:xfrm>
          <a:prstGeom prst="rect">
            <a:avLst/>
          </a:prstGeom>
        </p:spPr>
      </p:pic>
      <p:sp>
        <p:nvSpPr>
          <p:cNvPr id="16" name="TekstSylinder 15">
            <a:extLst>
              <a:ext uri="{FF2B5EF4-FFF2-40B4-BE49-F238E27FC236}">
                <a16:creationId xmlns:a16="http://schemas.microsoft.com/office/drawing/2014/main" id="{22B72AEF-738A-E983-3AD6-E9BC9E2EEC40}"/>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276761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7776614-F429-2BF7-3EEA-6C870D905FED}"/>
              </a:ext>
            </a:extLst>
          </p:cNvPr>
          <p:cNvSpPr>
            <a:spLocks noGrp="1"/>
          </p:cNvSpPr>
          <p:nvPr>
            <p:ph type="body" sz="quarter" idx="16" hasCustomPrompt="1"/>
          </p:nvPr>
        </p:nvSpPr>
        <p:spPr>
          <a:xfrm>
            <a:off x="959977" y="2072789"/>
            <a:ext cx="6097039"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82326A95-84CC-5DB2-F203-AB1F9304B6F7}"/>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78637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8831855-A9EF-CA69-57C7-90653A5EDED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33C46A58-9F7D-E42F-2F78-65FDD400B228}"/>
              </a:ext>
            </a:extLst>
          </p:cNvPr>
          <p:cNvPicPr>
            <a:picLocks noChangeAspect="1"/>
          </p:cNvPicPr>
          <p:nvPr userDrawn="1"/>
        </p:nvPicPr>
        <p:blipFill>
          <a:blip r:embed="rId2"/>
          <a:stretch>
            <a:fillRect/>
          </a:stretch>
        </p:blipFill>
        <p:spPr>
          <a:xfrm>
            <a:off x="11538366" y="232679"/>
            <a:ext cx="426896" cy="426896"/>
          </a:xfrm>
          <a:prstGeom prst="rect">
            <a:avLst/>
          </a:prstGeom>
        </p:spPr>
      </p:pic>
      <p:pic>
        <p:nvPicPr>
          <p:cNvPr id="10" name="Bilde 9">
            <a:extLst>
              <a:ext uri="{FF2B5EF4-FFF2-40B4-BE49-F238E27FC236}">
                <a16:creationId xmlns:a16="http://schemas.microsoft.com/office/drawing/2014/main" id="{311C0F33-F62E-258A-33B6-10EFCB7886DA}"/>
              </a:ext>
            </a:extLst>
          </p:cNvPr>
          <p:cNvPicPr>
            <a:picLocks noChangeAspect="1"/>
          </p:cNvPicPr>
          <p:nvPr userDrawn="1"/>
        </p:nvPicPr>
        <p:blipFill>
          <a:blip r:embed="rId3">
            <a:alphaModFix amt="30000"/>
          </a:blip>
          <a:stretch>
            <a:fillRect/>
          </a:stretch>
        </p:blipFill>
        <p:spPr>
          <a:xfrm>
            <a:off x="10189816" y="4305300"/>
            <a:ext cx="2697100" cy="2815509"/>
          </a:xfrm>
          <a:prstGeom prst="rect">
            <a:avLst/>
          </a:prstGeom>
        </p:spPr>
      </p:pic>
      <p:sp>
        <p:nvSpPr>
          <p:cNvPr id="12" name="TekstSylinder 11">
            <a:extLst>
              <a:ext uri="{FF2B5EF4-FFF2-40B4-BE49-F238E27FC236}">
                <a16:creationId xmlns:a16="http://schemas.microsoft.com/office/drawing/2014/main" id="{8E3CF84B-7446-3338-7BD2-A98695447048}"/>
              </a:ext>
            </a:extLst>
          </p:cNvPr>
          <p:cNvSpPr txBox="1"/>
          <p:nvPr userDrawn="1"/>
        </p:nvSpPr>
        <p:spPr>
          <a:xfrm>
            <a:off x="56335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67496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E39D5A43-6EF4-A9BA-C46C-301E137EF93F}"/>
              </a:ext>
            </a:extLst>
          </p:cNvPr>
          <p:cNvSpPr>
            <a:spLocks noGrp="1"/>
          </p:cNvSpPr>
          <p:nvPr>
            <p:ph type="body" sz="quarter" idx="16" hasCustomPrompt="1"/>
          </p:nvPr>
        </p:nvSpPr>
        <p:spPr>
          <a:xfrm>
            <a:off x="981493"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DE803654-6E9B-B352-09FC-74971CB27ED9}"/>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164915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ntel Publication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6" name="Gruppe 35">
            <a:extLst>
              <a:ext uri="{FF2B5EF4-FFF2-40B4-BE49-F238E27FC236}">
                <a16:creationId xmlns:a16="http://schemas.microsoft.com/office/drawing/2014/main" id="{41F29C41-9379-ED7C-52FD-B7B42639171C}"/>
              </a:ext>
            </a:extLst>
          </p:cNvPr>
          <p:cNvGrpSpPr/>
          <p:nvPr userDrawn="1"/>
        </p:nvGrpSpPr>
        <p:grpSpPr>
          <a:xfrm>
            <a:off x="1467857" y="2279375"/>
            <a:ext cx="5584950" cy="1224523"/>
            <a:chOff x="2103216" y="2545237"/>
            <a:chExt cx="7980638" cy="1749787"/>
          </a:xfrm>
        </p:grpSpPr>
        <p:grpSp>
          <p:nvGrpSpPr>
            <p:cNvPr id="37" name="Graphic 2">
              <a:extLst>
                <a:ext uri="{FF2B5EF4-FFF2-40B4-BE49-F238E27FC236}">
                  <a16:creationId xmlns:a16="http://schemas.microsoft.com/office/drawing/2014/main" id="{76F90A70-D1D4-C309-EB37-E7DC04821AE3}"/>
                </a:ext>
              </a:extLst>
            </p:cNvPr>
            <p:cNvGrpSpPr/>
            <p:nvPr/>
          </p:nvGrpSpPr>
          <p:grpSpPr>
            <a:xfrm>
              <a:off x="2103216" y="2545237"/>
              <a:ext cx="1749788" cy="1749787"/>
              <a:chOff x="2105024" y="2554434"/>
              <a:chExt cx="1749788" cy="1749787"/>
            </a:xfrm>
            <a:solidFill>
              <a:srgbClr val="022E33"/>
            </a:solidFill>
          </p:grpSpPr>
          <p:sp>
            <p:nvSpPr>
              <p:cNvPr id="58" name="Freeform: Shape 7">
                <a:extLst>
                  <a:ext uri="{FF2B5EF4-FFF2-40B4-BE49-F238E27FC236}">
                    <a16:creationId xmlns:a16="http://schemas.microsoft.com/office/drawing/2014/main" id="{1C87958E-1BD6-A1F8-2C0F-A848E5E2922E}"/>
                  </a:ext>
                </a:extLst>
              </p:cNvPr>
              <p:cNvSpPr/>
              <p:nvPr/>
            </p:nvSpPr>
            <p:spPr>
              <a:xfrm>
                <a:off x="2733032" y="3078352"/>
                <a:ext cx="493689" cy="591173"/>
              </a:xfrm>
              <a:custGeom>
                <a:avLst/>
                <a:gdLst>
                  <a:gd name="connsiteX0" fmla="*/ 386734 w 493689"/>
                  <a:gd name="connsiteY0" fmla="*/ 42538 h 591173"/>
                  <a:gd name="connsiteX1" fmla="*/ 251977 w 493689"/>
                  <a:gd name="connsiteY1" fmla="*/ 0 h 591173"/>
                  <a:gd name="connsiteX2" fmla="*/ 241794 w 493689"/>
                  <a:gd name="connsiteY2" fmla="*/ 0 h 591173"/>
                  <a:gd name="connsiteX3" fmla="*/ 107037 w 493689"/>
                  <a:gd name="connsiteY3" fmla="*/ 42538 h 591173"/>
                  <a:gd name="connsiteX4" fmla="*/ 22455 w 493689"/>
                  <a:gd name="connsiteY4" fmla="*/ 145022 h 591173"/>
                  <a:gd name="connsiteX5" fmla="*/ 1761 w 493689"/>
                  <a:gd name="connsiteY5" fmla="*/ 278136 h 591173"/>
                  <a:gd name="connsiteX6" fmla="*/ 60147 w 493689"/>
                  <a:gd name="connsiteY6" fmla="*/ 409034 h 591173"/>
                  <a:gd name="connsiteX7" fmla="*/ 163946 w 493689"/>
                  <a:gd name="connsiteY7" fmla="*/ 530159 h 591173"/>
                  <a:gd name="connsiteX8" fmla="*/ 172814 w 493689"/>
                  <a:gd name="connsiteY8" fmla="*/ 554056 h 591173"/>
                  <a:gd name="connsiteX9" fmla="*/ 172814 w 493689"/>
                  <a:gd name="connsiteY9" fmla="*/ 591173 h 591173"/>
                  <a:gd name="connsiteX10" fmla="*/ 320875 w 493689"/>
                  <a:gd name="connsiteY10" fmla="*/ 591173 h 591173"/>
                  <a:gd name="connsiteX11" fmla="*/ 320875 w 493689"/>
                  <a:gd name="connsiteY11" fmla="*/ 554056 h 591173"/>
                  <a:gd name="connsiteX12" fmla="*/ 329744 w 493689"/>
                  <a:gd name="connsiteY12" fmla="*/ 530159 h 591173"/>
                  <a:gd name="connsiteX13" fmla="*/ 433542 w 493689"/>
                  <a:gd name="connsiteY13" fmla="*/ 409034 h 591173"/>
                  <a:gd name="connsiteX14" fmla="*/ 491928 w 493689"/>
                  <a:gd name="connsiteY14" fmla="*/ 278136 h 591173"/>
                  <a:gd name="connsiteX15" fmla="*/ 471234 w 493689"/>
                  <a:gd name="connsiteY15" fmla="*/ 145022 h 591173"/>
                  <a:gd name="connsiteX16" fmla="*/ 386652 w 493689"/>
                  <a:gd name="connsiteY16" fmla="*/ 42538 h 591173"/>
                  <a:gd name="connsiteX17" fmla="*/ 246886 w 493689"/>
                  <a:gd name="connsiteY17" fmla="*/ 147732 h 591173"/>
                  <a:gd name="connsiteX18" fmla="*/ 135943 w 493689"/>
                  <a:gd name="connsiteY18" fmla="*/ 258674 h 591173"/>
                  <a:gd name="connsiteX19" fmla="*/ 99154 w 493689"/>
                  <a:gd name="connsiteY19" fmla="*/ 295464 h 591173"/>
                  <a:gd name="connsiteX20" fmla="*/ 62365 w 493689"/>
                  <a:gd name="connsiteY20" fmla="*/ 258674 h 591173"/>
                  <a:gd name="connsiteX21" fmla="*/ 246804 w 493689"/>
                  <a:gd name="connsiteY21" fmla="*/ 74235 h 591173"/>
                  <a:gd name="connsiteX22" fmla="*/ 283593 w 493689"/>
                  <a:gd name="connsiteY22" fmla="*/ 111025 h 591173"/>
                  <a:gd name="connsiteX23" fmla="*/ 246804 w 493689"/>
                  <a:gd name="connsiteY23" fmla="*/ 147814 h 5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689" h="591173">
                    <a:moveTo>
                      <a:pt x="386734" y="42538"/>
                    </a:moveTo>
                    <a:cubicBezTo>
                      <a:pt x="347810" y="15520"/>
                      <a:pt x="301248" y="903"/>
                      <a:pt x="251977" y="0"/>
                    </a:cubicBezTo>
                    <a:cubicBezTo>
                      <a:pt x="248610" y="0"/>
                      <a:pt x="245161" y="0"/>
                      <a:pt x="241794" y="0"/>
                    </a:cubicBezTo>
                    <a:cubicBezTo>
                      <a:pt x="192523" y="821"/>
                      <a:pt x="145962" y="15520"/>
                      <a:pt x="107037" y="42538"/>
                    </a:cubicBezTo>
                    <a:cubicBezTo>
                      <a:pt x="70494" y="67912"/>
                      <a:pt x="41260" y="103305"/>
                      <a:pt x="22455" y="145022"/>
                    </a:cubicBezTo>
                    <a:cubicBezTo>
                      <a:pt x="3485" y="187149"/>
                      <a:pt x="-3659" y="233217"/>
                      <a:pt x="1761" y="278136"/>
                    </a:cubicBezTo>
                    <a:cubicBezTo>
                      <a:pt x="7509" y="325930"/>
                      <a:pt x="27711" y="371177"/>
                      <a:pt x="60147" y="409034"/>
                    </a:cubicBezTo>
                    <a:lnTo>
                      <a:pt x="163946" y="530159"/>
                    </a:lnTo>
                    <a:cubicBezTo>
                      <a:pt x="169694" y="536811"/>
                      <a:pt x="172814" y="545269"/>
                      <a:pt x="172814" y="554056"/>
                    </a:cubicBezTo>
                    <a:lnTo>
                      <a:pt x="172814" y="591173"/>
                    </a:lnTo>
                    <a:lnTo>
                      <a:pt x="320875" y="591173"/>
                    </a:lnTo>
                    <a:lnTo>
                      <a:pt x="320875" y="554056"/>
                    </a:lnTo>
                    <a:cubicBezTo>
                      <a:pt x="320875" y="545269"/>
                      <a:pt x="323995" y="536811"/>
                      <a:pt x="329744" y="530159"/>
                    </a:cubicBezTo>
                    <a:lnTo>
                      <a:pt x="433542" y="409034"/>
                    </a:lnTo>
                    <a:cubicBezTo>
                      <a:pt x="465979" y="371177"/>
                      <a:pt x="486180" y="325930"/>
                      <a:pt x="491928" y="278136"/>
                    </a:cubicBezTo>
                    <a:cubicBezTo>
                      <a:pt x="497348" y="233217"/>
                      <a:pt x="490204" y="187149"/>
                      <a:pt x="471234" y="145022"/>
                    </a:cubicBezTo>
                    <a:cubicBezTo>
                      <a:pt x="452511" y="103305"/>
                      <a:pt x="423195" y="67830"/>
                      <a:pt x="386652" y="42538"/>
                    </a:cubicBezTo>
                    <a:close/>
                    <a:moveTo>
                      <a:pt x="246886" y="147732"/>
                    </a:moveTo>
                    <a:cubicBezTo>
                      <a:pt x="185707" y="147732"/>
                      <a:pt x="135943" y="197496"/>
                      <a:pt x="135943" y="258674"/>
                    </a:cubicBezTo>
                    <a:cubicBezTo>
                      <a:pt x="135943" y="278958"/>
                      <a:pt x="119519" y="295464"/>
                      <a:pt x="99154" y="295464"/>
                    </a:cubicBezTo>
                    <a:cubicBezTo>
                      <a:pt x="78788" y="295464"/>
                      <a:pt x="62365" y="279040"/>
                      <a:pt x="62365" y="258674"/>
                    </a:cubicBezTo>
                    <a:cubicBezTo>
                      <a:pt x="62365" y="156929"/>
                      <a:pt x="145140" y="74235"/>
                      <a:pt x="246804" y="74235"/>
                    </a:cubicBezTo>
                    <a:cubicBezTo>
                      <a:pt x="267087" y="74235"/>
                      <a:pt x="283593" y="90659"/>
                      <a:pt x="283593" y="111025"/>
                    </a:cubicBezTo>
                    <a:cubicBezTo>
                      <a:pt x="283593" y="131390"/>
                      <a:pt x="267169" y="147814"/>
                      <a:pt x="246804" y="147814"/>
                    </a:cubicBezTo>
                    <a:close/>
                  </a:path>
                </a:pathLst>
              </a:custGeom>
              <a:grpFill/>
              <a:ln w="8212"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CCB3FD97-6798-BE77-DE4D-73C7CA0A7D0F}"/>
                  </a:ext>
                </a:extLst>
              </p:cNvPr>
              <p:cNvSpPr/>
              <p:nvPr/>
            </p:nvSpPr>
            <p:spPr>
              <a:xfrm>
                <a:off x="2105024" y="2554434"/>
                <a:ext cx="1749788" cy="1749787"/>
              </a:xfrm>
              <a:custGeom>
                <a:avLst/>
                <a:gdLst>
                  <a:gd name="connsiteX0" fmla="*/ 874894 w 1749788"/>
                  <a:gd name="connsiteY0" fmla="*/ 0 h 1749787"/>
                  <a:gd name="connsiteX1" fmla="*/ 0 w 1749788"/>
                  <a:gd name="connsiteY1" fmla="*/ 874894 h 1749787"/>
                  <a:gd name="connsiteX2" fmla="*/ 874894 w 1749788"/>
                  <a:gd name="connsiteY2" fmla="*/ 1749788 h 1749787"/>
                  <a:gd name="connsiteX3" fmla="*/ 1749788 w 1749788"/>
                  <a:gd name="connsiteY3" fmla="*/ 874894 h 1749787"/>
                  <a:gd name="connsiteX4" fmla="*/ 874894 w 1749788"/>
                  <a:gd name="connsiteY4" fmla="*/ 0 h 1749787"/>
                  <a:gd name="connsiteX5" fmla="*/ 985672 w 1749788"/>
                  <a:gd name="connsiteY5" fmla="*/ 1299366 h 1749787"/>
                  <a:gd name="connsiteX6" fmla="*/ 764116 w 1749788"/>
                  <a:gd name="connsiteY6" fmla="*/ 1299366 h 1749787"/>
                  <a:gd name="connsiteX7" fmla="*/ 727327 w 1749788"/>
                  <a:gd name="connsiteY7" fmla="*/ 1262577 h 1749787"/>
                  <a:gd name="connsiteX8" fmla="*/ 764116 w 1749788"/>
                  <a:gd name="connsiteY8" fmla="*/ 1225788 h 1749787"/>
                  <a:gd name="connsiteX9" fmla="*/ 985672 w 1749788"/>
                  <a:gd name="connsiteY9" fmla="*/ 1225788 h 1749787"/>
                  <a:gd name="connsiteX10" fmla="*/ 1022462 w 1749788"/>
                  <a:gd name="connsiteY10" fmla="*/ 1262577 h 1749787"/>
                  <a:gd name="connsiteX11" fmla="*/ 985672 w 1749788"/>
                  <a:gd name="connsiteY11" fmla="*/ 1299366 h 1749787"/>
                  <a:gd name="connsiteX12" fmla="*/ 1192940 w 1749788"/>
                  <a:gd name="connsiteY12" fmla="*/ 810841 h 1749787"/>
                  <a:gd name="connsiteX13" fmla="*/ 1117391 w 1749788"/>
                  <a:gd name="connsiteY13" fmla="*/ 980745 h 1749787"/>
                  <a:gd name="connsiteX14" fmla="*/ 1022462 w 1749788"/>
                  <a:gd name="connsiteY14" fmla="*/ 1091523 h 1749787"/>
                  <a:gd name="connsiteX15" fmla="*/ 1022462 w 1749788"/>
                  <a:gd name="connsiteY15" fmla="*/ 1151799 h 1749787"/>
                  <a:gd name="connsiteX16" fmla="*/ 985672 w 1749788"/>
                  <a:gd name="connsiteY16" fmla="*/ 1188588 h 1749787"/>
                  <a:gd name="connsiteX17" fmla="*/ 764116 w 1749788"/>
                  <a:gd name="connsiteY17" fmla="*/ 1188588 h 1749787"/>
                  <a:gd name="connsiteX18" fmla="*/ 727327 w 1749788"/>
                  <a:gd name="connsiteY18" fmla="*/ 1151799 h 1749787"/>
                  <a:gd name="connsiteX19" fmla="*/ 727327 w 1749788"/>
                  <a:gd name="connsiteY19" fmla="*/ 1091523 h 1749787"/>
                  <a:gd name="connsiteX20" fmla="*/ 632397 w 1749788"/>
                  <a:gd name="connsiteY20" fmla="*/ 980745 h 1749787"/>
                  <a:gd name="connsiteX21" fmla="*/ 556848 w 1749788"/>
                  <a:gd name="connsiteY21" fmla="*/ 810841 h 1749787"/>
                  <a:gd name="connsiteX22" fmla="*/ 583454 w 1749788"/>
                  <a:gd name="connsiteY22" fmla="*/ 638720 h 1749787"/>
                  <a:gd name="connsiteX23" fmla="*/ 693165 w 1749788"/>
                  <a:gd name="connsiteY23" fmla="*/ 505934 h 1749787"/>
                  <a:gd name="connsiteX24" fmla="*/ 868571 w 1749788"/>
                  <a:gd name="connsiteY24" fmla="*/ 450340 h 1749787"/>
                  <a:gd name="connsiteX25" fmla="*/ 881217 w 1749788"/>
                  <a:gd name="connsiteY25" fmla="*/ 450340 h 1749787"/>
                  <a:gd name="connsiteX26" fmla="*/ 1056623 w 1749788"/>
                  <a:gd name="connsiteY26" fmla="*/ 505934 h 1749787"/>
                  <a:gd name="connsiteX27" fmla="*/ 1166334 w 1749788"/>
                  <a:gd name="connsiteY27" fmla="*/ 638720 h 1749787"/>
                  <a:gd name="connsiteX28" fmla="*/ 1192940 w 1749788"/>
                  <a:gd name="connsiteY28" fmla="*/ 810841 h 174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9788" h="1749787">
                    <a:moveTo>
                      <a:pt x="874894" y="0"/>
                    </a:moveTo>
                    <a:cubicBezTo>
                      <a:pt x="391707" y="0"/>
                      <a:pt x="0" y="391707"/>
                      <a:pt x="0" y="874894"/>
                    </a:cubicBezTo>
                    <a:cubicBezTo>
                      <a:pt x="0" y="1358081"/>
                      <a:pt x="391707" y="1749788"/>
                      <a:pt x="874894" y="1749788"/>
                    </a:cubicBezTo>
                    <a:cubicBezTo>
                      <a:pt x="1358081" y="1749788"/>
                      <a:pt x="1749788" y="1358081"/>
                      <a:pt x="1749788" y="874894"/>
                    </a:cubicBezTo>
                    <a:cubicBezTo>
                      <a:pt x="1749788" y="391707"/>
                      <a:pt x="1358081" y="0"/>
                      <a:pt x="874894" y="0"/>
                    </a:cubicBezTo>
                    <a:close/>
                    <a:moveTo>
                      <a:pt x="985672" y="1299366"/>
                    </a:moveTo>
                    <a:lnTo>
                      <a:pt x="764116" y="1299366"/>
                    </a:lnTo>
                    <a:cubicBezTo>
                      <a:pt x="743832" y="1299366"/>
                      <a:pt x="727327" y="1282942"/>
                      <a:pt x="727327" y="1262577"/>
                    </a:cubicBezTo>
                    <a:cubicBezTo>
                      <a:pt x="727327" y="1242212"/>
                      <a:pt x="743750" y="1225788"/>
                      <a:pt x="764116" y="1225788"/>
                    </a:cubicBezTo>
                    <a:lnTo>
                      <a:pt x="985672" y="1225788"/>
                    </a:lnTo>
                    <a:cubicBezTo>
                      <a:pt x="1005956" y="1225788"/>
                      <a:pt x="1022462" y="1242212"/>
                      <a:pt x="1022462" y="1262577"/>
                    </a:cubicBezTo>
                    <a:cubicBezTo>
                      <a:pt x="1022462" y="1282942"/>
                      <a:pt x="1006038" y="1299366"/>
                      <a:pt x="985672" y="1299366"/>
                    </a:cubicBezTo>
                    <a:close/>
                    <a:moveTo>
                      <a:pt x="1192940" y="810841"/>
                    </a:moveTo>
                    <a:cubicBezTo>
                      <a:pt x="1185386" y="873087"/>
                      <a:pt x="1159272" y="931802"/>
                      <a:pt x="1117391" y="980745"/>
                    </a:cubicBezTo>
                    <a:lnTo>
                      <a:pt x="1022462" y="1091523"/>
                    </a:lnTo>
                    <a:lnTo>
                      <a:pt x="1022462" y="1151799"/>
                    </a:lnTo>
                    <a:cubicBezTo>
                      <a:pt x="1022462" y="1172082"/>
                      <a:pt x="1006038" y="1188588"/>
                      <a:pt x="985672" y="1188588"/>
                    </a:cubicBezTo>
                    <a:lnTo>
                      <a:pt x="764116" y="1188588"/>
                    </a:lnTo>
                    <a:cubicBezTo>
                      <a:pt x="743832" y="1188588"/>
                      <a:pt x="727327" y="1172164"/>
                      <a:pt x="727327" y="1151799"/>
                    </a:cubicBezTo>
                    <a:lnTo>
                      <a:pt x="727327" y="1091523"/>
                    </a:lnTo>
                    <a:lnTo>
                      <a:pt x="632397" y="980745"/>
                    </a:lnTo>
                    <a:cubicBezTo>
                      <a:pt x="590434" y="931802"/>
                      <a:pt x="564321" y="873087"/>
                      <a:pt x="556848" y="810841"/>
                    </a:cubicBezTo>
                    <a:cubicBezTo>
                      <a:pt x="549786" y="752619"/>
                      <a:pt x="558983" y="693083"/>
                      <a:pt x="583454" y="638720"/>
                    </a:cubicBezTo>
                    <a:cubicBezTo>
                      <a:pt x="607679" y="584850"/>
                      <a:pt x="645618" y="538946"/>
                      <a:pt x="693165" y="505934"/>
                    </a:cubicBezTo>
                    <a:cubicBezTo>
                      <a:pt x="744079" y="470623"/>
                      <a:pt x="804683" y="451407"/>
                      <a:pt x="868571" y="450340"/>
                    </a:cubicBezTo>
                    <a:cubicBezTo>
                      <a:pt x="872841" y="450340"/>
                      <a:pt x="877029" y="450340"/>
                      <a:pt x="881217" y="450340"/>
                    </a:cubicBezTo>
                    <a:cubicBezTo>
                      <a:pt x="945106" y="451407"/>
                      <a:pt x="1005709" y="470623"/>
                      <a:pt x="1056623" y="505934"/>
                    </a:cubicBezTo>
                    <a:cubicBezTo>
                      <a:pt x="1104170" y="538864"/>
                      <a:pt x="1142109" y="584768"/>
                      <a:pt x="1166334" y="638720"/>
                    </a:cubicBezTo>
                    <a:cubicBezTo>
                      <a:pt x="1190805" y="693083"/>
                      <a:pt x="1200003" y="752619"/>
                      <a:pt x="1192940" y="810841"/>
                    </a:cubicBezTo>
                    <a:close/>
                  </a:path>
                </a:pathLst>
              </a:custGeom>
              <a:grpFill/>
              <a:ln w="8212" cap="flat">
                <a:noFill/>
                <a:prstDash val="solid"/>
                <a:miter/>
              </a:ln>
            </p:spPr>
            <p:txBody>
              <a:bodyPr rtlCol="0" anchor="ctr"/>
              <a:lstStyle/>
              <a:p>
                <a:endParaRPr lang="en-US"/>
              </a:p>
            </p:txBody>
          </p:sp>
        </p:grpSp>
        <p:grpSp>
          <p:nvGrpSpPr>
            <p:cNvPr id="38" name="Graphic 2">
              <a:extLst>
                <a:ext uri="{FF2B5EF4-FFF2-40B4-BE49-F238E27FC236}">
                  <a16:creationId xmlns:a16="http://schemas.microsoft.com/office/drawing/2014/main" id="{C55D9707-8580-E943-B366-D4506D54DAAA}"/>
                </a:ext>
              </a:extLst>
            </p:cNvPr>
            <p:cNvGrpSpPr/>
            <p:nvPr/>
          </p:nvGrpSpPr>
          <p:grpSpPr>
            <a:xfrm>
              <a:off x="4372407" y="2781081"/>
              <a:ext cx="1746092" cy="299076"/>
              <a:chOff x="4372407" y="2781081"/>
              <a:chExt cx="1746092" cy="299076"/>
            </a:xfrm>
            <a:solidFill>
              <a:srgbClr val="022E33"/>
            </a:solidFill>
          </p:grpSpPr>
          <p:sp>
            <p:nvSpPr>
              <p:cNvPr id="52" name="Freeform: Shape 10">
                <a:extLst>
                  <a:ext uri="{FF2B5EF4-FFF2-40B4-BE49-F238E27FC236}">
                    <a16:creationId xmlns:a16="http://schemas.microsoft.com/office/drawing/2014/main" id="{2E6ADC8B-9B59-91E2-D771-264799F2761B}"/>
                  </a:ext>
                </a:extLst>
              </p:cNvPr>
              <p:cNvSpPr/>
              <p:nvPr/>
            </p:nvSpPr>
            <p:spPr>
              <a:xfrm>
                <a:off x="5400452" y="2784366"/>
                <a:ext cx="232642" cy="292343"/>
              </a:xfrm>
              <a:custGeom>
                <a:avLst/>
                <a:gdLst>
                  <a:gd name="connsiteX0" fmla="*/ 88114 w 232642"/>
                  <a:gd name="connsiteY0" fmla="*/ 48450 h 292343"/>
                  <a:gd name="connsiteX1" fmla="*/ 0 w 232642"/>
                  <a:gd name="connsiteY1" fmla="*/ 48450 h 292343"/>
                  <a:gd name="connsiteX2" fmla="*/ 0 w 232642"/>
                  <a:gd name="connsiteY2" fmla="*/ 0 h 292343"/>
                  <a:gd name="connsiteX3" fmla="*/ 232643 w 232642"/>
                  <a:gd name="connsiteY3" fmla="*/ 0 h 292343"/>
                  <a:gd name="connsiteX4" fmla="*/ 232643 w 232642"/>
                  <a:gd name="connsiteY4" fmla="*/ 48450 h 292343"/>
                  <a:gd name="connsiteX5" fmla="*/ 144940 w 232642"/>
                  <a:gd name="connsiteY5" fmla="*/ 48450 h 292343"/>
                  <a:gd name="connsiteX6" fmla="*/ 144940 w 232642"/>
                  <a:gd name="connsiteY6" fmla="*/ 292343 h 292343"/>
                  <a:gd name="connsiteX7" fmla="*/ 88114 w 232642"/>
                  <a:gd name="connsiteY7" fmla="*/ 292343 h 292343"/>
                  <a:gd name="connsiteX8" fmla="*/ 88114 w 232642"/>
                  <a:gd name="connsiteY8" fmla="*/ 48450 h 29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2" h="292343">
                    <a:moveTo>
                      <a:pt x="88114" y="48450"/>
                    </a:moveTo>
                    <a:lnTo>
                      <a:pt x="0" y="48450"/>
                    </a:lnTo>
                    <a:lnTo>
                      <a:pt x="0" y="0"/>
                    </a:lnTo>
                    <a:lnTo>
                      <a:pt x="232643" y="0"/>
                    </a:lnTo>
                    <a:lnTo>
                      <a:pt x="232643" y="48450"/>
                    </a:lnTo>
                    <a:lnTo>
                      <a:pt x="144940" y="48450"/>
                    </a:lnTo>
                    <a:lnTo>
                      <a:pt x="144940" y="292343"/>
                    </a:lnTo>
                    <a:lnTo>
                      <a:pt x="88114" y="292343"/>
                    </a:lnTo>
                    <a:lnTo>
                      <a:pt x="88114" y="48450"/>
                    </a:lnTo>
                    <a:close/>
                  </a:path>
                </a:pathLst>
              </a:custGeom>
              <a:solidFill>
                <a:srgbClr val="022E33"/>
              </a:solidFill>
              <a:ln w="8212" cap="flat">
                <a:noFill/>
                <a:prstDash val="solid"/>
                <a:miter/>
              </a:ln>
            </p:spPr>
            <p:txBody>
              <a:bodyPr rtlCol="0" anchor="ctr"/>
              <a:lstStyle/>
              <a:p>
                <a:endParaRPr lang="en-US"/>
              </a:p>
            </p:txBody>
          </p:sp>
          <p:sp>
            <p:nvSpPr>
              <p:cNvPr id="53" name="Freeform: Shape 11">
                <a:extLst>
                  <a:ext uri="{FF2B5EF4-FFF2-40B4-BE49-F238E27FC236}">
                    <a16:creationId xmlns:a16="http://schemas.microsoft.com/office/drawing/2014/main" id="{43342978-3FBF-E633-F9EF-7F880A0AA93A}"/>
                  </a:ext>
                </a:extLst>
              </p:cNvPr>
              <p:cNvSpPr/>
              <p:nvPr/>
            </p:nvSpPr>
            <p:spPr>
              <a:xfrm>
                <a:off x="5675058" y="2784284"/>
                <a:ext cx="200123" cy="292425"/>
              </a:xfrm>
              <a:custGeom>
                <a:avLst/>
                <a:gdLst>
                  <a:gd name="connsiteX0" fmla="*/ 77356 w 200123"/>
                  <a:gd name="connsiteY0" fmla="*/ 82 h 292425"/>
                  <a:gd name="connsiteX1" fmla="*/ 200124 w 200123"/>
                  <a:gd name="connsiteY1" fmla="*/ 82 h 292425"/>
                  <a:gd name="connsiteX2" fmla="*/ 200124 w 200123"/>
                  <a:gd name="connsiteY2" fmla="*/ 48532 h 292425"/>
                  <a:gd name="connsiteX3" fmla="*/ 82612 w 200123"/>
                  <a:gd name="connsiteY3" fmla="*/ 48532 h 292425"/>
                  <a:gd name="connsiteX4" fmla="*/ 56826 w 200123"/>
                  <a:gd name="connsiteY4" fmla="*/ 74318 h 292425"/>
                  <a:gd name="connsiteX5" fmla="*/ 56826 w 200123"/>
                  <a:gd name="connsiteY5" fmla="*/ 122029 h 292425"/>
                  <a:gd name="connsiteX6" fmla="*/ 200124 w 200123"/>
                  <a:gd name="connsiteY6" fmla="*/ 122029 h 292425"/>
                  <a:gd name="connsiteX7" fmla="*/ 200124 w 200123"/>
                  <a:gd name="connsiteY7" fmla="*/ 170479 h 292425"/>
                  <a:gd name="connsiteX8" fmla="*/ 56826 w 200123"/>
                  <a:gd name="connsiteY8" fmla="*/ 170479 h 292425"/>
                  <a:gd name="connsiteX9" fmla="*/ 56826 w 200123"/>
                  <a:gd name="connsiteY9" fmla="*/ 218190 h 292425"/>
                  <a:gd name="connsiteX10" fmla="*/ 82612 w 200123"/>
                  <a:gd name="connsiteY10" fmla="*/ 243975 h 292425"/>
                  <a:gd name="connsiteX11" fmla="*/ 200124 w 200123"/>
                  <a:gd name="connsiteY11" fmla="*/ 243975 h 292425"/>
                  <a:gd name="connsiteX12" fmla="*/ 200124 w 200123"/>
                  <a:gd name="connsiteY12" fmla="*/ 292425 h 292425"/>
                  <a:gd name="connsiteX13" fmla="*/ 77356 w 200123"/>
                  <a:gd name="connsiteY13" fmla="*/ 292425 h 292425"/>
                  <a:gd name="connsiteX14" fmla="*/ 0 w 200123"/>
                  <a:gd name="connsiteY14" fmla="*/ 215069 h 292425"/>
                  <a:gd name="connsiteX15" fmla="*/ 0 w 200123"/>
                  <a:gd name="connsiteY15" fmla="*/ 77356 h 292425"/>
                  <a:gd name="connsiteX16" fmla="*/ 77356 w 200123"/>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23" h="292425">
                    <a:moveTo>
                      <a:pt x="77356" y="82"/>
                    </a:moveTo>
                    <a:lnTo>
                      <a:pt x="200124" y="82"/>
                    </a:lnTo>
                    <a:lnTo>
                      <a:pt x="200124" y="48532"/>
                    </a:lnTo>
                    <a:lnTo>
                      <a:pt x="82612" y="48532"/>
                    </a:lnTo>
                    <a:cubicBezTo>
                      <a:pt x="68405" y="48532"/>
                      <a:pt x="56826" y="60111"/>
                      <a:pt x="56826" y="74318"/>
                    </a:cubicBezTo>
                    <a:lnTo>
                      <a:pt x="56826" y="122029"/>
                    </a:lnTo>
                    <a:lnTo>
                      <a:pt x="200124" y="122029"/>
                    </a:lnTo>
                    <a:lnTo>
                      <a:pt x="200124" y="170479"/>
                    </a:lnTo>
                    <a:lnTo>
                      <a:pt x="56826" y="170479"/>
                    </a:lnTo>
                    <a:lnTo>
                      <a:pt x="56826" y="218190"/>
                    </a:lnTo>
                    <a:cubicBezTo>
                      <a:pt x="56826" y="232396"/>
                      <a:pt x="68405" y="243975"/>
                      <a:pt x="82612" y="243975"/>
                    </a:cubicBezTo>
                    <a:lnTo>
                      <a:pt x="200124" y="243975"/>
                    </a:lnTo>
                    <a:lnTo>
                      <a:pt x="200124" y="292425"/>
                    </a:lnTo>
                    <a:lnTo>
                      <a:pt x="77356" y="292425"/>
                    </a:lnTo>
                    <a:cubicBezTo>
                      <a:pt x="34654" y="292425"/>
                      <a:pt x="0" y="257771"/>
                      <a:pt x="0" y="215069"/>
                    </a:cubicBezTo>
                    <a:lnTo>
                      <a:pt x="0" y="77356"/>
                    </a:lnTo>
                    <a:cubicBezTo>
                      <a:pt x="0" y="34654"/>
                      <a:pt x="34654" y="0"/>
                      <a:pt x="77356" y="0"/>
                    </a:cubicBezTo>
                    <a:close/>
                  </a:path>
                </a:pathLst>
              </a:custGeom>
              <a:solidFill>
                <a:srgbClr val="022E33"/>
              </a:solidFill>
              <a:ln w="8212" cap="flat">
                <a:noFill/>
                <a:prstDash val="solid"/>
                <a:miter/>
              </a:ln>
            </p:spPr>
            <p:txBody>
              <a:bodyPr rtlCol="0" anchor="ctr"/>
              <a:lstStyle/>
              <a:p>
                <a:endParaRPr lang="en-US"/>
              </a:p>
            </p:txBody>
          </p:sp>
          <p:sp>
            <p:nvSpPr>
              <p:cNvPr id="54" name="Freeform: Shape 12">
                <a:extLst>
                  <a:ext uri="{FF2B5EF4-FFF2-40B4-BE49-F238E27FC236}">
                    <a16:creationId xmlns:a16="http://schemas.microsoft.com/office/drawing/2014/main" id="{79262B31-F38D-5E60-294D-650EC648703B}"/>
                  </a:ext>
                </a:extLst>
              </p:cNvPr>
              <p:cNvSpPr/>
              <p:nvPr/>
            </p:nvSpPr>
            <p:spPr>
              <a:xfrm>
                <a:off x="5924206" y="2784366"/>
                <a:ext cx="194293" cy="292425"/>
              </a:xfrm>
              <a:custGeom>
                <a:avLst/>
                <a:gdLst>
                  <a:gd name="connsiteX0" fmla="*/ 0 w 194293"/>
                  <a:gd name="connsiteY0" fmla="*/ 0 h 292425"/>
                  <a:gd name="connsiteX1" fmla="*/ 56826 w 194293"/>
                  <a:gd name="connsiteY1" fmla="*/ 0 h 292425"/>
                  <a:gd name="connsiteX2" fmla="*/ 56826 w 194293"/>
                  <a:gd name="connsiteY2" fmla="*/ 218190 h 292425"/>
                  <a:gd name="connsiteX3" fmla="*/ 82612 w 194293"/>
                  <a:gd name="connsiteY3" fmla="*/ 243975 h 292425"/>
                  <a:gd name="connsiteX4" fmla="*/ 194293 w 194293"/>
                  <a:gd name="connsiteY4" fmla="*/ 243975 h 292425"/>
                  <a:gd name="connsiteX5" fmla="*/ 194293 w 194293"/>
                  <a:gd name="connsiteY5" fmla="*/ 292425 h 292425"/>
                  <a:gd name="connsiteX6" fmla="*/ 77438 w 194293"/>
                  <a:gd name="connsiteY6" fmla="*/ 292425 h 292425"/>
                  <a:gd name="connsiteX7" fmla="*/ 82 w 194293"/>
                  <a:gd name="connsiteY7" fmla="*/ 215069 h 292425"/>
                  <a:gd name="connsiteX8" fmla="*/ 82 w 194293"/>
                  <a:gd name="connsiteY8"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293" h="292425">
                    <a:moveTo>
                      <a:pt x="0" y="0"/>
                    </a:moveTo>
                    <a:lnTo>
                      <a:pt x="56826" y="0"/>
                    </a:lnTo>
                    <a:lnTo>
                      <a:pt x="56826" y="218190"/>
                    </a:lnTo>
                    <a:cubicBezTo>
                      <a:pt x="56826" y="232396"/>
                      <a:pt x="68405" y="243975"/>
                      <a:pt x="82612" y="243975"/>
                    </a:cubicBezTo>
                    <a:lnTo>
                      <a:pt x="194293" y="243975"/>
                    </a:lnTo>
                    <a:lnTo>
                      <a:pt x="194293" y="292425"/>
                    </a:lnTo>
                    <a:lnTo>
                      <a:pt x="77438" y="292425"/>
                    </a:lnTo>
                    <a:cubicBezTo>
                      <a:pt x="34736" y="292425"/>
                      <a:pt x="82" y="257771"/>
                      <a:pt x="82" y="215069"/>
                    </a:cubicBezTo>
                    <a:lnTo>
                      <a:pt x="82" y="0"/>
                    </a:lnTo>
                    <a:close/>
                  </a:path>
                </a:pathLst>
              </a:custGeom>
              <a:solidFill>
                <a:srgbClr val="022E33"/>
              </a:solidFill>
              <a:ln w="8212" cap="flat">
                <a:noFill/>
                <a:prstDash val="solid"/>
                <a:miter/>
              </a:ln>
            </p:spPr>
            <p:txBody>
              <a:bodyPr rtlCol="0" anchor="ctr"/>
              <a:lstStyle/>
              <a:p>
                <a:endParaRPr lang="en-US"/>
              </a:p>
            </p:txBody>
          </p:sp>
          <p:sp>
            <p:nvSpPr>
              <p:cNvPr id="55" name="Freeform: Shape 13">
                <a:extLst>
                  <a:ext uri="{FF2B5EF4-FFF2-40B4-BE49-F238E27FC236}">
                    <a16:creationId xmlns:a16="http://schemas.microsoft.com/office/drawing/2014/main" id="{3E5F2CDB-D2ED-2F5F-4B59-1C9FA498DC2C}"/>
                  </a:ext>
                </a:extLst>
              </p:cNvPr>
              <p:cNvSpPr/>
              <p:nvPr/>
            </p:nvSpPr>
            <p:spPr>
              <a:xfrm>
                <a:off x="5114433" y="2784366"/>
                <a:ext cx="244385" cy="292425"/>
              </a:xfrm>
              <a:custGeom>
                <a:avLst/>
                <a:gdLst>
                  <a:gd name="connsiteX0" fmla="*/ 244386 w 244385"/>
                  <a:gd name="connsiteY0" fmla="*/ 77356 h 292425"/>
                  <a:gd name="connsiteX1" fmla="*/ 244386 w 244385"/>
                  <a:gd name="connsiteY1" fmla="*/ 292425 h 292425"/>
                  <a:gd name="connsiteX2" fmla="*/ 187559 w 244385"/>
                  <a:gd name="connsiteY2" fmla="*/ 292425 h 292425"/>
                  <a:gd name="connsiteX3" fmla="*/ 187559 w 244385"/>
                  <a:gd name="connsiteY3" fmla="*/ 74235 h 292425"/>
                  <a:gd name="connsiteX4" fmla="*/ 161774 w 244385"/>
                  <a:gd name="connsiteY4" fmla="*/ 48450 h 292425"/>
                  <a:gd name="connsiteX5" fmla="*/ 56826 w 244385"/>
                  <a:gd name="connsiteY5" fmla="*/ 48450 h 292425"/>
                  <a:gd name="connsiteX6" fmla="*/ 56826 w 244385"/>
                  <a:gd name="connsiteY6" fmla="*/ 292343 h 292425"/>
                  <a:gd name="connsiteX7" fmla="*/ 0 w 244385"/>
                  <a:gd name="connsiteY7" fmla="*/ 292343 h 292425"/>
                  <a:gd name="connsiteX8" fmla="*/ 0 w 244385"/>
                  <a:gd name="connsiteY8" fmla="*/ 0 h 292425"/>
                  <a:gd name="connsiteX9" fmla="*/ 167030 w 244385"/>
                  <a:gd name="connsiteY9" fmla="*/ 0 h 292425"/>
                  <a:gd name="connsiteX10" fmla="*/ 244386 w 244385"/>
                  <a:gd name="connsiteY10" fmla="*/ 77356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385" h="292425">
                    <a:moveTo>
                      <a:pt x="244386" y="77356"/>
                    </a:moveTo>
                    <a:lnTo>
                      <a:pt x="244386" y="292425"/>
                    </a:lnTo>
                    <a:lnTo>
                      <a:pt x="187559" y="292425"/>
                    </a:lnTo>
                    <a:lnTo>
                      <a:pt x="187559" y="74235"/>
                    </a:lnTo>
                    <a:cubicBezTo>
                      <a:pt x="187559" y="60029"/>
                      <a:pt x="175981" y="48450"/>
                      <a:pt x="161774" y="48450"/>
                    </a:cubicBezTo>
                    <a:lnTo>
                      <a:pt x="56826" y="48450"/>
                    </a:lnTo>
                    <a:lnTo>
                      <a:pt x="56826" y="292343"/>
                    </a:lnTo>
                    <a:lnTo>
                      <a:pt x="0" y="292343"/>
                    </a:lnTo>
                    <a:lnTo>
                      <a:pt x="0" y="0"/>
                    </a:lnTo>
                    <a:lnTo>
                      <a:pt x="167030" y="0"/>
                    </a:lnTo>
                    <a:cubicBezTo>
                      <a:pt x="209732" y="0"/>
                      <a:pt x="244386" y="34654"/>
                      <a:pt x="244386" y="77356"/>
                    </a:cubicBezTo>
                    <a:close/>
                  </a:path>
                </a:pathLst>
              </a:custGeom>
              <a:solidFill>
                <a:srgbClr val="022E33"/>
              </a:solidFill>
              <a:ln w="8212" cap="flat">
                <a:noFill/>
                <a:prstDash val="solid"/>
                <a:miter/>
              </a:ln>
            </p:spPr>
            <p:txBody>
              <a:bodyPr rtlCol="0" anchor="ctr"/>
              <a:lstStyle/>
              <a:p>
                <a:endParaRPr lang="en-US"/>
              </a:p>
            </p:txBody>
          </p:sp>
          <p:sp>
            <p:nvSpPr>
              <p:cNvPr id="56" name="Freeform: Shape 14">
                <a:extLst>
                  <a:ext uri="{FF2B5EF4-FFF2-40B4-BE49-F238E27FC236}">
                    <a16:creationId xmlns:a16="http://schemas.microsoft.com/office/drawing/2014/main" id="{60FC30EF-B2F3-36B0-DA01-3F88FE916F79}"/>
                  </a:ext>
                </a:extLst>
              </p:cNvPr>
              <p:cNvSpPr/>
              <p:nvPr/>
            </p:nvSpPr>
            <p:spPr>
              <a:xfrm>
                <a:off x="4372407" y="2784366"/>
                <a:ext cx="354260" cy="292425"/>
              </a:xfrm>
              <a:custGeom>
                <a:avLst/>
                <a:gdLst>
                  <a:gd name="connsiteX0" fmla="*/ 276905 w 354260"/>
                  <a:gd name="connsiteY0" fmla="*/ 0 h 292425"/>
                  <a:gd name="connsiteX1" fmla="*/ 354261 w 354260"/>
                  <a:gd name="connsiteY1" fmla="*/ 77356 h 292425"/>
                  <a:gd name="connsiteX2" fmla="*/ 354261 w 354260"/>
                  <a:gd name="connsiteY2" fmla="*/ 292425 h 292425"/>
                  <a:gd name="connsiteX3" fmla="*/ 297434 w 354260"/>
                  <a:gd name="connsiteY3" fmla="*/ 292425 h 292425"/>
                  <a:gd name="connsiteX4" fmla="*/ 297434 w 354260"/>
                  <a:gd name="connsiteY4" fmla="*/ 74235 h 292425"/>
                  <a:gd name="connsiteX5" fmla="*/ 271649 w 354260"/>
                  <a:gd name="connsiteY5" fmla="*/ 48450 h 292425"/>
                  <a:gd name="connsiteX6" fmla="*/ 205544 w 354260"/>
                  <a:gd name="connsiteY6" fmla="*/ 48450 h 292425"/>
                  <a:gd name="connsiteX7" fmla="*/ 205544 w 354260"/>
                  <a:gd name="connsiteY7" fmla="*/ 292343 h 292425"/>
                  <a:gd name="connsiteX8" fmla="*/ 148717 w 354260"/>
                  <a:gd name="connsiteY8" fmla="*/ 292343 h 292425"/>
                  <a:gd name="connsiteX9" fmla="*/ 148717 w 354260"/>
                  <a:gd name="connsiteY9" fmla="*/ 48450 h 292425"/>
                  <a:gd name="connsiteX10" fmla="*/ 82612 w 354260"/>
                  <a:gd name="connsiteY10" fmla="*/ 48450 h 292425"/>
                  <a:gd name="connsiteX11" fmla="*/ 56826 w 354260"/>
                  <a:gd name="connsiteY11" fmla="*/ 74235 h 292425"/>
                  <a:gd name="connsiteX12" fmla="*/ 56826 w 354260"/>
                  <a:gd name="connsiteY12" fmla="*/ 292425 h 292425"/>
                  <a:gd name="connsiteX13" fmla="*/ 0 w 354260"/>
                  <a:gd name="connsiteY13" fmla="*/ 292425 h 292425"/>
                  <a:gd name="connsiteX14" fmla="*/ 0 w 354260"/>
                  <a:gd name="connsiteY14" fmla="*/ 77356 h 292425"/>
                  <a:gd name="connsiteX15" fmla="*/ 77356 w 354260"/>
                  <a:gd name="connsiteY15" fmla="*/ 0 h 292425"/>
                  <a:gd name="connsiteX16" fmla="*/ 276905 w 354260"/>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260" h="292425">
                    <a:moveTo>
                      <a:pt x="276905" y="0"/>
                    </a:moveTo>
                    <a:cubicBezTo>
                      <a:pt x="319607" y="0"/>
                      <a:pt x="354261" y="34654"/>
                      <a:pt x="354261" y="77356"/>
                    </a:cubicBezTo>
                    <a:lnTo>
                      <a:pt x="354261" y="292425"/>
                    </a:lnTo>
                    <a:lnTo>
                      <a:pt x="297434" y="292425"/>
                    </a:lnTo>
                    <a:lnTo>
                      <a:pt x="297434" y="74235"/>
                    </a:lnTo>
                    <a:cubicBezTo>
                      <a:pt x="297434" y="60029"/>
                      <a:pt x="285856" y="48450"/>
                      <a:pt x="271649" y="48450"/>
                    </a:cubicBezTo>
                    <a:lnTo>
                      <a:pt x="205544" y="48450"/>
                    </a:lnTo>
                    <a:lnTo>
                      <a:pt x="205544" y="292343"/>
                    </a:lnTo>
                    <a:lnTo>
                      <a:pt x="148717" y="292343"/>
                    </a:lnTo>
                    <a:lnTo>
                      <a:pt x="148717" y="48450"/>
                    </a:lnTo>
                    <a:lnTo>
                      <a:pt x="82612" y="48450"/>
                    </a:lnTo>
                    <a:cubicBezTo>
                      <a:pt x="68405" y="48450"/>
                      <a:pt x="56826" y="60029"/>
                      <a:pt x="56826" y="74235"/>
                    </a:cubicBezTo>
                    <a:lnTo>
                      <a:pt x="56826" y="292425"/>
                    </a:lnTo>
                    <a:lnTo>
                      <a:pt x="0" y="292425"/>
                    </a:lnTo>
                    <a:lnTo>
                      <a:pt x="0" y="77356"/>
                    </a:lnTo>
                    <a:cubicBezTo>
                      <a:pt x="0" y="34654"/>
                      <a:pt x="34654" y="0"/>
                      <a:pt x="77356" y="0"/>
                    </a:cubicBezTo>
                    <a:lnTo>
                      <a:pt x="276905" y="0"/>
                    </a:lnTo>
                    <a:close/>
                  </a:path>
                </a:pathLst>
              </a:custGeom>
              <a:solidFill>
                <a:srgbClr val="022E33"/>
              </a:solidFill>
              <a:ln w="8212" cap="flat">
                <a:noFill/>
                <a:prstDash val="solid"/>
                <a:miter/>
              </a:ln>
            </p:spPr>
            <p:txBody>
              <a:bodyPr rtlCol="0" anchor="ctr"/>
              <a:lstStyle/>
              <a:p>
                <a:endParaRPr lang="en-US"/>
              </a:p>
            </p:txBody>
          </p:sp>
          <p:sp>
            <p:nvSpPr>
              <p:cNvPr id="57" name="Freeform: Shape 15">
                <a:extLst>
                  <a:ext uri="{FF2B5EF4-FFF2-40B4-BE49-F238E27FC236}">
                    <a16:creationId xmlns:a16="http://schemas.microsoft.com/office/drawing/2014/main" id="{B94A67F0-4D11-08EF-AED3-57759824CEED}"/>
                  </a:ext>
                </a:extLst>
              </p:cNvPr>
              <p:cNvSpPr/>
              <p:nvPr/>
            </p:nvSpPr>
            <p:spPr>
              <a:xfrm>
                <a:off x="4771176" y="2781081"/>
                <a:ext cx="299076" cy="299076"/>
              </a:xfrm>
              <a:custGeom>
                <a:avLst/>
                <a:gdLst>
                  <a:gd name="connsiteX0" fmla="*/ 149538 w 299076"/>
                  <a:gd name="connsiteY0" fmla="*/ 55020 h 299076"/>
                  <a:gd name="connsiteX1" fmla="*/ 244057 w 299076"/>
                  <a:gd name="connsiteY1" fmla="*/ 149538 h 299076"/>
                  <a:gd name="connsiteX2" fmla="*/ 149538 w 299076"/>
                  <a:gd name="connsiteY2" fmla="*/ 244057 h 299076"/>
                  <a:gd name="connsiteX3" fmla="*/ 55019 w 299076"/>
                  <a:gd name="connsiteY3" fmla="*/ 149538 h 299076"/>
                  <a:gd name="connsiteX4" fmla="*/ 149538 w 299076"/>
                  <a:gd name="connsiteY4" fmla="*/ 55020 h 299076"/>
                  <a:gd name="connsiteX5" fmla="*/ 149538 w 299076"/>
                  <a:gd name="connsiteY5" fmla="*/ 0 h 299076"/>
                  <a:gd name="connsiteX6" fmla="*/ 0 w 299076"/>
                  <a:gd name="connsiteY6" fmla="*/ 149538 h 299076"/>
                  <a:gd name="connsiteX7" fmla="*/ 149538 w 299076"/>
                  <a:gd name="connsiteY7" fmla="*/ 299077 h 299076"/>
                  <a:gd name="connsiteX8" fmla="*/ 299077 w 299076"/>
                  <a:gd name="connsiteY8" fmla="*/ 149538 h 299076"/>
                  <a:gd name="connsiteX9" fmla="*/ 149538 w 299076"/>
                  <a:gd name="connsiteY9" fmla="*/ 0 h 299076"/>
                  <a:gd name="connsiteX10" fmla="*/ 149538 w 299076"/>
                  <a:gd name="connsiteY10" fmla="*/ 0 h 29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076" h="299076">
                    <a:moveTo>
                      <a:pt x="149538" y="55020"/>
                    </a:moveTo>
                    <a:cubicBezTo>
                      <a:pt x="201684" y="55020"/>
                      <a:pt x="244057" y="97393"/>
                      <a:pt x="244057" y="149538"/>
                    </a:cubicBezTo>
                    <a:cubicBezTo>
                      <a:pt x="244057" y="201684"/>
                      <a:pt x="201684" y="244057"/>
                      <a:pt x="149538" y="244057"/>
                    </a:cubicBezTo>
                    <a:cubicBezTo>
                      <a:pt x="97393" y="244057"/>
                      <a:pt x="55019" y="201684"/>
                      <a:pt x="55019" y="149538"/>
                    </a:cubicBezTo>
                    <a:cubicBezTo>
                      <a:pt x="55019" y="97393"/>
                      <a:pt x="97393" y="55020"/>
                      <a:pt x="149538" y="55020"/>
                    </a:cubicBezTo>
                    <a:moveTo>
                      <a:pt x="149538" y="0"/>
                    </a:moveTo>
                    <a:cubicBezTo>
                      <a:pt x="66927" y="0"/>
                      <a:pt x="0" y="66927"/>
                      <a:pt x="0" y="149538"/>
                    </a:cubicBezTo>
                    <a:cubicBezTo>
                      <a:pt x="0" y="232150"/>
                      <a:pt x="66927" y="299077"/>
                      <a:pt x="149538" y="299077"/>
                    </a:cubicBezTo>
                    <a:cubicBezTo>
                      <a:pt x="232150" y="299077"/>
                      <a:pt x="299077" y="232150"/>
                      <a:pt x="299077" y="149538"/>
                    </a:cubicBezTo>
                    <a:cubicBezTo>
                      <a:pt x="299077" y="66927"/>
                      <a:pt x="232150" y="0"/>
                      <a:pt x="149538" y="0"/>
                    </a:cubicBezTo>
                    <a:lnTo>
                      <a:pt x="149538" y="0"/>
                    </a:lnTo>
                    <a:close/>
                  </a:path>
                </a:pathLst>
              </a:custGeom>
              <a:solidFill>
                <a:srgbClr val="022E33"/>
              </a:solidFill>
              <a:ln w="8212" cap="flat">
                <a:noFill/>
                <a:prstDash val="solid"/>
                <a:miter/>
              </a:ln>
            </p:spPr>
            <p:txBody>
              <a:bodyPr rtlCol="0" anchor="ctr"/>
              <a:lstStyle/>
              <a:p>
                <a:endParaRPr lang="en-US"/>
              </a:p>
            </p:txBody>
          </p:sp>
        </p:grpSp>
        <p:grpSp>
          <p:nvGrpSpPr>
            <p:cNvPr id="39" name="Graphic 2">
              <a:extLst>
                <a:ext uri="{FF2B5EF4-FFF2-40B4-BE49-F238E27FC236}">
                  <a16:creationId xmlns:a16="http://schemas.microsoft.com/office/drawing/2014/main" id="{C4A2299B-CC37-8EA1-1C30-FA1EF5890512}"/>
                </a:ext>
              </a:extLst>
            </p:cNvPr>
            <p:cNvGrpSpPr/>
            <p:nvPr/>
          </p:nvGrpSpPr>
          <p:grpSpPr>
            <a:xfrm>
              <a:off x="4372407" y="3202023"/>
              <a:ext cx="5711447" cy="794171"/>
              <a:chOff x="4372407" y="3219924"/>
              <a:chExt cx="5711447" cy="794171"/>
            </a:xfrm>
            <a:solidFill>
              <a:srgbClr val="022E33"/>
            </a:solidFill>
          </p:grpSpPr>
          <p:sp>
            <p:nvSpPr>
              <p:cNvPr id="40" name="Freeform: Shape 17">
                <a:extLst>
                  <a:ext uri="{FF2B5EF4-FFF2-40B4-BE49-F238E27FC236}">
                    <a16:creationId xmlns:a16="http://schemas.microsoft.com/office/drawing/2014/main" id="{CF86D32B-0AF1-E6EC-AB50-D9A16867E1B9}"/>
                  </a:ext>
                </a:extLst>
              </p:cNvPr>
              <p:cNvSpPr/>
              <p:nvPr/>
            </p:nvSpPr>
            <p:spPr>
              <a:xfrm>
                <a:off x="4372407" y="3229861"/>
                <a:ext cx="530569" cy="775201"/>
              </a:xfrm>
              <a:custGeom>
                <a:avLst/>
                <a:gdLst>
                  <a:gd name="connsiteX0" fmla="*/ 0 w 530569"/>
                  <a:gd name="connsiteY0" fmla="*/ 0 h 775201"/>
                  <a:gd name="connsiteX1" fmla="*/ 292425 w 530569"/>
                  <a:gd name="connsiteY1" fmla="*/ 0 h 775201"/>
                  <a:gd name="connsiteX2" fmla="*/ 530570 w 530569"/>
                  <a:gd name="connsiteY2" fmla="*/ 217040 h 775201"/>
                  <a:gd name="connsiteX3" fmla="*/ 292425 w 530569"/>
                  <a:gd name="connsiteY3" fmla="*/ 434080 h 775201"/>
                  <a:gd name="connsiteX4" fmla="*/ 74236 w 530569"/>
                  <a:gd name="connsiteY4" fmla="*/ 434080 h 775201"/>
                  <a:gd name="connsiteX5" fmla="*/ 74236 w 530569"/>
                  <a:gd name="connsiteY5" fmla="*/ 775202 h 775201"/>
                  <a:gd name="connsiteX6" fmla="*/ 0 w 530569"/>
                  <a:gd name="connsiteY6" fmla="*/ 775202 h 775201"/>
                  <a:gd name="connsiteX7" fmla="*/ 0 w 530569"/>
                  <a:gd name="connsiteY7" fmla="*/ 0 h 775201"/>
                  <a:gd name="connsiteX8" fmla="*/ 286841 w 530569"/>
                  <a:gd name="connsiteY8" fmla="*/ 369945 h 775201"/>
                  <a:gd name="connsiteX9" fmla="*/ 456253 w 530569"/>
                  <a:gd name="connsiteY9" fmla="*/ 217122 h 775201"/>
                  <a:gd name="connsiteX10" fmla="*/ 286841 w 530569"/>
                  <a:gd name="connsiteY10" fmla="*/ 65367 h 775201"/>
                  <a:gd name="connsiteX11" fmla="*/ 74236 w 530569"/>
                  <a:gd name="connsiteY11" fmla="*/ 65367 h 775201"/>
                  <a:gd name="connsiteX12" fmla="*/ 74236 w 530569"/>
                  <a:gd name="connsiteY12" fmla="*/ 369945 h 775201"/>
                  <a:gd name="connsiteX13" fmla="*/ 286841 w 530569"/>
                  <a:gd name="connsiteY13" fmla="*/ 369945 h 77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0569" h="775201">
                    <a:moveTo>
                      <a:pt x="0" y="0"/>
                    </a:moveTo>
                    <a:lnTo>
                      <a:pt x="292425" y="0"/>
                    </a:lnTo>
                    <a:cubicBezTo>
                      <a:pt x="436380" y="0"/>
                      <a:pt x="530570" y="86389"/>
                      <a:pt x="530570" y="217040"/>
                    </a:cubicBezTo>
                    <a:cubicBezTo>
                      <a:pt x="530570" y="347691"/>
                      <a:pt x="436462" y="434080"/>
                      <a:pt x="292425" y="434080"/>
                    </a:cubicBezTo>
                    <a:lnTo>
                      <a:pt x="74236" y="434080"/>
                    </a:lnTo>
                    <a:lnTo>
                      <a:pt x="74236" y="775202"/>
                    </a:lnTo>
                    <a:lnTo>
                      <a:pt x="0" y="775202"/>
                    </a:lnTo>
                    <a:lnTo>
                      <a:pt x="0" y="0"/>
                    </a:lnTo>
                    <a:close/>
                    <a:moveTo>
                      <a:pt x="286841" y="369945"/>
                    </a:moveTo>
                    <a:cubicBezTo>
                      <a:pt x="389818" y="369945"/>
                      <a:pt x="456253" y="309013"/>
                      <a:pt x="456253" y="217122"/>
                    </a:cubicBezTo>
                    <a:cubicBezTo>
                      <a:pt x="456253" y="125231"/>
                      <a:pt x="389818" y="65367"/>
                      <a:pt x="286841" y="65367"/>
                    </a:cubicBezTo>
                    <a:lnTo>
                      <a:pt x="74236" y="65367"/>
                    </a:lnTo>
                    <a:lnTo>
                      <a:pt x="74236" y="369945"/>
                    </a:lnTo>
                    <a:lnTo>
                      <a:pt x="286841" y="369945"/>
                    </a:lnTo>
                    <a:close/>
                  </a:path>
                </a:pathLst>
              </a:custGeom>
              <a:solidFill>
                <a:srgbClr val="022E33"/>
              </a:solidFill>
              <a:ln w="8212" cap="flat">
                <a:noFill/>
                <a:prstDash val="solid"/>
                <a:miter/>
              </a:ln>
            </p:spPr>
            <p:txBody>
              <a:bodyPr rtlCol="0" anchor="ctr"/>
              <a:lstStyle/>
              <a:p>
                <a:endParaRPr lang="en-US"/>
              </a:p>
            </p:txBody>
          </p:sp>
          <p:sp>
            <p:nvSpPr>
              <p:cNvPr id="41" name="Freeform: Shape 18">
                <a:extLst>
                  <a:ext uri="{FF2B5EF4-FFF2-40B4-BE49-F238E27FC236}">
                    <a16:creationId xmlns:a16="http://schemas.microsoft.com/office/drawing/2014/main" id="{655995B5-2F18-0980-F5DF-B57984B473BA}"/>
                  </a:ext>
                </a:extLst>
              </p:cNvPr>
              <p:cNvSpPr/>
              <p:nvPr/>
            </p:nvSpPr>
            <p:spPr>
              <a:xfrm>
                <a:off x="4996017" y="3446901"/>
                <a:ext cx="481791" cy="566948"/>
              </a:xfrm>
              <a:custGeom>
                <a:avLst/>
                <a:gdLst>
                  <a:gd name="connsiteX0" fmla="*/ 0 w 481791"/>
                  <a:gd name="connsiteY0" fmla="*/ 360009 h 566948"/>
                  <a:gd name="connsiteX1" fmla="*/ 0 w 481791"/>
                  <a:gd name="connsiteY1" fmla="*/ 82 h 566948"/>
                  <a:gd name="connsiteX2" fmla="*/ 69801 w 481791"/>
                  <a:gd name="connsiteY2" fmla="*/ 82 h 566948"/>
                  <a:gd name="connsiteX3" fmla="*/ 69801 w 481791"/>
                  <a:gd name="connsiteY3" fmla="*/ 353357 h 566948"/>
                  <a:gd name="connsiteX4" fmla="*/ 211538 w 481791"/>
                  <a:gd name="connsiteY4" fmla="*/ 503963 h 566948"/>
                  <a:gd name="connsiteX5" fmla="*/ 411990 w 481791"/>
                  <a:gd name="connsiteY5" fmla="*/ 238145 h 566948"/>
                  <a:gd name="connsiteX6" fmla="*/ 411990 w 481791"/>
                  <a:gd name="connsiteY6" fmla="*/ 0 h 566948"/>
                  <a:gd name="connsiteX7" fmla="*/ 481791 w 481791"/>
                  <a:gd name="connsiteY7" fmla="*/ 0 h 566948"/>
                  <a:gd name="connsiteX8" fmla="*/ 481791 w 481791"/>
                  <a:gd name="connsiteY8" fmla="*/ 558162 h 566948"/>
                  <a:gd name="connsiteX9" fmla="*/ 411990 w 481791"/>
                  <a:gd name="connsiteY9" fmla="*/ 558162 h 566948"/>
                  <a:gd name="connsiteX10" fmla="*/ 411990 w 481791"/>
                  <a:gd name="connsiteY10" fmla="*/ 431863 h 566948"/>
                  <a:gd name="connsiteX11" fmla="*/ 200452 w 481791"/>
                  <a:gd name="connsiteY11" fmla="*/ 566948 h 566948"/>
                  <a:gd name="connsiteX12" fmla="*/ 0 w 481791"/>
                  <a:gd name="connsiteY12" fmla="*/ 359845 h 56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1791" h="566948">
                    <a:moveTo>
                      <a:pt x="0" y="360009"/>
                    </a:moveTo>
                    <a:lnTo>
                      <a:pt x="0" y="82"/>
                    </a:lnTo>
                    <a:lnTo>
                      <a:pt x="69801" y="82"/>
                    </a:lnTo>
                    <a:lnTo>
                      <a:pt x="69801" y="353357"/>
                    </a:lnTo>
                    <a:cubicBezTo>
                      <a:pt x="69801" y="453050"/>
                      <a:pt x="125149" y="503963"/>
                      <a:pt x="211538" y="503963"/>
                    </a:cubicBezTo>
                    <a:cubicBezTo>
                      <a:pt x="334470" y="503963"/>
                      <a:pt x="411990" y="398769"/>
                      <a:pt x="411990" y="238145"/>
                    </a:cubicBezTo>
                    <a:lnTo>
                      <a:pt x="411990" y="0"/>
                    </a:lnTo>
                    <a:lnTo>
                      <a:pt x="481791" y="0"/>
                    </a:lnTo>
                    <a:lnTo>
                      <a:pt x="481791" y="558162"/>
                    </a:lnTo>
                    <a:lnTo>
                      <a:pt x="411990" y="558162"/>
                    </a:lnTo>
                    <a:lnTo>
                      <a:pt x="411990" y="431863"/>
                    </a:lnTo>
                    <a:cubicBezTo>
                      <a:pt x="377665" y="511600"/>
                      <a:pt x="300145" y="566948"/>
                      <a:pt x="200452" y="566948"/>
                    </a:cubicBezTo>
                    <a:cubicBezTo>
                      <a:pt x="85239" y="566948"/>
                      <a:pt x="0" y="496080"/>
                      <a:pt x="0" y="359845"/>
                    </a:cubicBezTo>
                    <a:close/>
                  </a:path>
                </a:pathLst>
              </a:custGeom>
              <a:solidFill>
                <a:srgbClr val="022E33"/>
              </a:solidFill>
              <a:ln w="8212" cap="flat">
                <a:noFill/>
                <a:prstDash val="solid"/>
                <a:miter/>
              </a:ln>
            </p:spPr>
            <p:txBody>
              <a:bodyPr rtlCol="0" anchor="ctr"/>
              <a:lstStyle/>
              <a:p>
                <a:endParaRPr lang="en-US"/>
              </a:p>
            </p:txBody>
          </p:sp>
          <p:sp>
            <p:nvSpPr>
              <p:cNvPr id="42" name="Freeform: Shape 19">
                <a:extLst>
                  <a:ext uri="{FF2B5EF4-FFF2-40B4-BE49-F238E27FC236}">
                    <a16:creationId xmlns:a16="http://schemas.microsoft.com/office/drawing/2014/main" id="{3B6661C6-5DC1-29D9-414C-AC2461D90391}"/>
                  </a:ext>
                </a:extLst>
              </p:cNvPr>
              <p:cNvSpPr/>
              <p:nvPr/>
            </p:nvSpPr>
            <p:spPr>
              <a:xfrm>
                <a:off x="5630549" y="3220992"/>
                <a:ext cx="554958" cy="793021"/>
              </a:xfrm>
              <a:custGeom>
                <a:avLst/>
                <a:gdLst>
                  <a:gd name="connsiteX0" fmla="*/ 69801 w 554958"/>
                  <a:gd name="connsiteY0" fmla="*/ 671157 h 793021"/>
                  <a:gd name="connsiteX1" fmla="*/ 69801 w 554958"/>
                  <a:gd name="connsiteY1" fmla="*/ 784153 h 793021"/>
                  <a:gd name="connsiteX2" fmla="*/ 0 w 554958"/>
                  <a:gd name="connsiteY2" fmla="*/ 784153 h 793021"/>
                  <a:gd name="connsiteX3" fmla="*/ 0 w 554958"/>
                  <a:gd name="connsiteY3" fmla="*/ 0 h 793021"/>
                  <a:gd name="connsiteX4" fmla="*/ 69801 w 554958"/>
                  <a:gd name="connsiteY4" fmla="*/ 0 h 793021"/>
                  <a:gd name="connsiteX5" fmla="*/ 69801 w 554958"/>
                  <a:gd name="connsiteY5" fmla="*/ 338904 h 793021"/>
                  <a:gd name="connsiteX6" fmla="*/ 280272 w 554958"/>
                  <a:gd name="connsiteY6" fmla="*/ 217040 h 793021"/>
                  <a:gd name="connsiteX7" fmla="*/ 554959 w 554958"/>
                  <a:gd name="connsiteY7" fmla="*/ 505031 h 793021"/>
                  <a:gd name="connsiteX8" fmla="*/ 280272 w 554958"/>
                  <a:gd name="connsiteY8" fmla="*/ 793022 h 793021"/>
                  <a:gd name="connsiteX9" fmla="*/ 69801 w 554958"/>
                  <a:gd name="connsiteY9" fmla="*/ 671157 h 793021"/>
                  <a:gd name="connsiteX10" fmla="*/ 276905 w 554958"/>
                  <a:gd name="connsiteY10" fmla="*/ 730940 h 793021"/>
                  <a:gd name="connsiteX11" fmla="*/ 484008 w 554958"/>
                  <a:gd name="connsiteY11" fmla="*/ 505031 h 793021"/>
                  <a:gd name="connsiteX12" fmla="*/ 276905 w 554958"/>
                  <a:gd name="connsiteY12" fmla="*/ 279122 h 793021"/>
                  <a:gd name="connsiteX13" fmla="*/ 70869 w 554958"/>
                  <a:gd name="connsiteY13" fmla="*/ 505031 h 793021"/>
                  <a:gd name="connsiteX14" fmla="*/ 276905 w 554958"/>
                  <a:gd name="connsiteY14" fmla="*/ 730940 h 79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4958" h="793021">
                    <a:moveTo>
                      <a:pt x="69801" y="671157"/>
                    </a:moveTo>
                    <a:lnTo>
                      <a:pt x="69801" y="784153"/>
                    </a:lnTo>
                    <a:lnTo>
                      <a:pt x="0" y="784153"/>
                    </a:lnTo>
                    <a:lnTo>
                      <a:pt x="0" y="0"/>
                    </a:lnTo>
                    <a:lnTo>
                      <a:pt x="69801" y="0"/>
                    </a:lnTo>
                    <a:lnTo>
                      <a:pt x="69801" y="338904"/>
                    </a:lnTo>
                    <a:cubicBezTo>
                      <a:pt x="104127" y="265819"/>
                      <a:pt x="189448" y="217040"/>
                      <a:pt x="280272" y="217040"/>
                    </a:cubicBezTo>
                    <a:cubicBezTo>
                      <a:pt x="444181" y="217040"/>
                      <a:pt x="554959" y="333320"/>
                      <a:pt x="554959" y="505031"/>
                    </a:cubicBezTo>
                    <a:cubicBezTo>
                      <a:pt x="554959" y="676741"/>
                      <a:pt x="444181" y="793022"/>
                      <a:pt x="280272" y="793022"/>
                    </a:cubicBezTo>
                    <a:cubicBezTo>
                      <a:pt x="189448" y="793022"/>
                      <a:pt x="104209" y="743175"/>
                      <a:pt x="69801" y="671157"/>
                    </a:cubicBezTo>
                    <a:close/>
                    <a:moveTo>
                      <a:pt x="276905" y="730940"/>
                    </a:moveTo>
                    <a:cubicBezTo>
                      <a:pt x="396552" y="730940"/>
                      <a:pt x="484008" y="637899"/>
                      <a:pt x="484008" y="505031"/>
                    </a:cubicBezTo>
                    <a:cubicBezTo>
                      <a:pt x="484008" y="372163"/>
                      <a:pt x="396470" y="279122"/>
                      <a:pt x="276905" y="279122"/>
                    </a:cubicBezTo>
                    <a:cubicBezTo>
                      <a:pt x="157340" y="279122"/>
                      <a:pt x="70869" y="372163"/>
                      <a:pt x="70869" y="505031"/>
                    </a:cubicBezTo>
                    <a:cubicBezTo>
                      <a:pt x="70869" y="637899"/>
                      <a:pt x="157258" y="730940"/>
                      <a:pt x="276905" y="730940"/>
                    </a:cubicBezTo>
                    <a:close/>
                  </a:path>
                </a:pathLst>
              </a:custGeom>
              <a:solidFill>
                <a:srgbClr val="022E33"/>
              </a:solidFill>
              <a:ln w="8212" cap="flat">
                <a:noFill/>
                <a:prstDash val="solid"/>
                <a:miter/>
              </a:ln>
            </p:spPr>
            <p:txBody>
              <a:bodyPr rtlCol="0" anchor="ctr"/>
              <a:lstStyle/>
              <a:p>
                <a:endParaRPr lang="en-US"/>
              </a:p>
            </p:txBody>
          </p:sp>
          <p:sp>
            <p:nvSpPr>
              <p:cNvPr id="43" name="Freeform: Shape 20">
                <a:extLst>
                  <a:ext uri="{FF2B5EF4-FFF2-40B4-BE49-F238E27FC236}">
                    <a16:creationId xmlns:a16="http://schemas.microsoft.com/office/drawing/2014/main" id="{CF7C0B50-0368-1FF6-63CC-66BB35FC9F98}"/>
                  </a:ext>
                </a:extLst>
              </p:cNvPr>
              <p:cNvSpPr/>
              <p:nvPr/>
            </p:nvSpPr>
            <p:spPr>
              <a:xfrm>
                <a:off x="6299572" y="3220992"/>
                <a:ext cx="70868" cy="784152"/>
              </a:xfrm>
              <a:custGeom>
                <a:avLst/>
                <a:gdLst>
                  <a:gd name="connsiteX0" fmla="*/ 0 w 70868"/>
                  <a:gd name="connsiteY0" fmla="*/ 0 h 784152"/>
                  <a:gd name="connsiteX1" fmla="*/ 70868 w 70868"/>
                  <a:gd name="connsiteY1" fmla="*/ 0 h 784152"/>
                  <a:gd name="connsiteX2" fmla="*/ 70868 w 70868"/>
                  <a:gd name="connsiteY2" fmla="*/ 784153 h 784152"/>
                  <a:gd name="connsiteX3" fmla="*/ 0 w 70868"/>
                  <a:gd name="connsiteY3" fmla="*/ 784153 h 784152"/>
                  <a:gd name="connsiteX4" fmla="*/ 0 w 70868"/>
                  <a:gd name="connsiteY4" fmla="*/ 0 h 784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8" h="784152">
                    <a:moveTo>
                      <a:pt x="0" y="0"/>
                    </a:moveTo>
                    <a:lnTo>
                      <a:pt x="70868" y="0"/>
                    </a:lnTo>
                    <a:lnTo>
                      <a:pt x="70868" y="784153"/>
                    </a:lnTo>
                    <a:lnTo>
                      <a:pt x="0" y="784153"/>
                    </a:lnTo>
                    <a:lnTo>
                      <a:pt x="0" y="0"/>
                    </a:lnTo>
                    <a:close/>
                  </a:path>
                </a:pathLst>
              </a:custGeom>
              <a:solidFill>
                <a:srgbClr val="022E33"/>
              </a:solidFill>
              <a:ln w="8212" cap="flat">
                <a:noFill/>
                <a:prstDash val="solid"/>
                <a:miter/>
              </a:ln>
            </p:spPr>
            <p:txBody>
              <a:bodyPr rtlCol="0" anchor="ctr"/>
              <a:lstStyle/>
              <a:p>
                <a:endParaRPr lang="en-US"/>
              </a:p>
            </p:txBody>
          </p:sp>
          <p:sp>
            <p:nvSpPr>
              <p:cNvPr id="44" name="Freeform: Shape 21">
                <a:extLst>
                  <a:ext uri="{FF2B5EF4-FFF2-40B4-BE49-F238E27FC236}">
                    <a16:creationId xmlns:a16="http://schemas.microsoft.com/office/drawing/2014/main" id="{FB97918E-0C4C-5921-C511-D4802D991C26}"/>
                  </a:ext>
                </a:extLst>
              </p:cNvPr>
              <p:cNvSpPr/>
              <p:nvPr/>
            </p:nvSpPr>
            <p:spPr>
              <a:xfrm>
                <a:off x="6503390"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5" name="Freeform: Shape 22">
                <a:extLst>
                  <a:ext uri="{FF2B5EF4-FFF2-40B4-BE49-F238E27FC236}">
                    <a16:creationId xmlns:a16="http://schemas.microsoft.com/office/drawing/2014/main" id="{3863349F-6B91-214A-04C0-D127953854A4}"/>
                  </a:ext>
                </a:extLst>
              </p:cNvPr>
              <p:cNvSpPr/>
              <p:nvPr/>
            </p:nvSpPr>
            <p:spPr>
              <a:xfrm>
                <a:off x="6704910" y="3438032"/>
                <a:ext cx="519401" cy="575817"/>
              </a:xfrm>
              <a:custGeom>
                <a:avLst/>
                <a:gdLst>
                  <a:gd name="connsiteX0" fmla="*/ 0 w 519401"/>
                  <a:gd name="connsiteY0" fmla="*/ 287991 h 575817"/>
                  <a:gd name="connsiteX1" fmla="*/ 271320 w 519401"/>
                  <a:gd name="connsiteY1" fmla="*/ 0 h 575817"/>
                  <a:gd name="connsiteX2" fmla="*/ 513899 w 519401"/>
                  <a:gd name="connsiteY2" fmla="*/ 184932 h 575817"/>
                  <a:gd name="connsiteX3" fmla="*/ 444098 w 519401"/>
                  <a:gd name="connsiteY3" fmla="*/ 184932 h 575817"/>
                  <a:gd name="connsiteX4" fmla="*/ 271320 w 519401"/>
                  <a:gd name="connsiteY4" fmla="*/ 62000 h 575817"/>
                  <a:gd name="connsiteX5" fmla="*/ 71936 w 519401"/>
                  <a:gd name="connsiteY5" fmla="*/ 287909 h 575817"/>
                  <a:gd name="connsiteX6" fmla="*/ 271320 w 519401"/>
                  <a:gd name="connsiteY6" fmla="*/ 513818 h 575817"/>
                  <a:gd name="connsiteX7" fmla="*/ 449601 w 519401"/>
                  <a:gd name="connsiteY7" fmla="*/ 379800 h 575817"/>
                  <a:gd name="connsiteX8" fmla="*/ 519402 w 519401"/>
                  <a:gd name="connsiteY8" fmla="*/ 379800 h 575817"/>
                  <a:gd name="connsiteX9" fmla="*/ 271320 w 519401"/>
                  <a:gd name="connsiteY9" fmla="*/ 575817 h 575817"/>
                  <a:gd name="connsiteX10" fmla="*/ 0 w 519401"/>
                  <a:gd name="connsiteY10" fmla="*/ 287826 h 57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401" h="575817">
                    <a:moveTo>
                      <a:pt x="0" y="287991"/>
                    </a:moveTo>
                    <a:cubicBezTo>
                      <a:pt x="0" y="121864"/>
                      <a:pt x="115212" y="0"/>
                      <a:pt x="271320" y="0"/>
                    </a:cubicBezTo>
                    <a:cubicBezTo>
                      <a:pt x="404189" y="0"/>
                      <a:pt x="495012" y="76453"/>
                      <a:pt x="513899" y="184932"/>
                    </a:cubicBezTo>
                    <a:lnTo>
                      <a:pt x="444098" y="184932"/>
                    </a:lnTo>
                    <a:cubicBezTo>
                      <a:pt x="426361" y="110696"/>
                      <a:pt x="359927" y="62000"/>
                      <a:pt x="271320" y="62000"/>
                    </a:cubicBezTo>
                    <a:cubicBezTo>
                      <a:pt x="157257" y="62000"/>
                      <a:pt x="71936" y="156108"/>
                      <a:pt x="71936" y="287909"/>
                    </a:cubicBezTo>
                    <a:cubicBezTo>
                      <a:pt x="71936" y="419709"/>
                      <a:pt x="157175" y="513818"/>
                      <a:pt x="271320" y="513818"/>
                    </a:cubicBezTo>
                    <a:cubicBezTo>
                      <a:pt x="367646" y="513818"/>
                      <a:pt x="437447" y="457320"/>
                      <a:pt x="449601" y="379800"/>
                    </a:cubicBezTo>
                    <a:lnTo>
                      <a:pt x="519402" y="379800"/>
                    </a:lnTo>
                    <a:cubicBezTo>
                      <a:pt x="503881" y="488361"/>
                      <a:pt x="406406" y="575817"/>
                      <a:pt x="271320" y="575817"/>
                    </a:cubicBezTo>
                    <a:cubicBezTo>
                      <a:pt x="115130" y="575817"/>
                      <a:pt x="0" y="452885"/>
                      <a:pt x="0" y="287826"/>
                    </a:cubicBezTo>
                    <a:close/>
                  </a:path>
                </a:pathLst>
              </a:custGeom>
              <a:solidFill>
                <a:srgbClr val="022E33"/>
              </a:solidFill>
              <a:ln w="8212" cap="flat">
                <a:noFill/>
                <a:prstDash val="solid"/>
                <a:miter/>
              </a:ln>
            </p:spPr>
            <p:txBody>
              <a:bodyPr rtlCol="0" anchor="ctr"/>
              <a:lstStyle/>
              <a:p>
                <a:endParaRPr lang="en-US"/>
              </a:p>
            </p:txBody>
          </p:sp>
          <p:sp>
            <p:nvSpPr>
              <p:cNvPr id="46" name="Freeform: Shape 23">
                <a:extLst>
                  <a:ext uri="{FF2B5EF4-FFF2-40B4-BE49-F238E27FC236}">
                    <a16:creationId xmlns:a16="http://schemas.microsoft.com/office/drawing/2014/main" id="{2EC78DF6-4C25-8639-48DC-71C0F27D7918}"/>
                  </a:ext>
                </a:extLst>
              </p:cNvPr>
              <p:cNvSpPr/>
              <p:nvPr/>
            </p:nvSpPr>
            <p:spPr>
              <a:xfrm>
                <a:off x="7301668" y="3438032"/>
                <a:ext cx="456334" cy="575981"/>
              </a:xfrm>
              <a:custGeom>
                <a:avLst/>
                <a:gdLst>
                  <a:gd name="connsiteX0" fmla="*/ 164 w 456334"/>
                  <a:gd name="connsiteY0" fmla="*/ 419791 h 575981"/>
                  <a:gd name="connsiteX1" fmla="*/ 260399 w 456334"/>
                  <a:gd name="connsiteY1" fmla="*/ 233710 h 575981"/>
                  <a:gd name="connsiteX2" fmla="*/ 386697 w 456334"/>
                  <a:gd name="connsiteY2" fmla="*/ 220407 h 575981"/>
                  <a:gd name="connsiteX3" fmla="*/ 386697 w 456334"/>
                  <a:gd name="connsiteY3" fmla="*/ 196018 h 575981"/>
                  <a:gd name="connsiteX4" fmla="*/ 234942 w 456334"/>
                  <a:gd name="connsiteY4" fmla="*/ 62000 h 575981"/>
                  <a:gd name="connsiteX5" fmla="*/ 76535 w 456334"/>
                  <a:gd name="connsiteY5" fmla="*/ 196018 h 575981"/>
                  <a:gd name="connsiteX6" fmla="*/ 4516 w 456334"/>
                  <a:gd name="connsiteY6" fmla="*/ 196018 h 575981"/>
                  <a:gd name="connsiteX7" fmla="*/ 234860 w 456334"/>
                  <a:gd name="connsiteY7" fmla="*/ 0 h 575981"/>
                  <a:gd name="connsiteX8" fmla="*/ 456334 w 456334"/>
                  <a:gd name="connsiteY8" fmla="*/ 201602 h 575981"/>
                  <a:gd name="connsiteX9" fmla="*/ 456334 w 456334"/>
                  <a:gd name="connsiteY9" fmla="*/ 567113 h 575981"/>
                  <a:gd name="connsiteX10" fmla="*/ 386533 w 456334"/>
                  <a:gd name="connsiteY10" fmla="*/ 567113 h 575981"/>
                  <a:gd name="connsiteX11" fmla="*/ 386533 w 456334"/>
                  <a:gd name="connsiteY11" fmla="*/ 451900 h 575981"/>
                  <a:gd name="connsiteX12" fmla="*/ 192733 w 456334"/>
                  <a:gd name="connsiteY12" fmla="*/ 575982 h 575981"/>
                  <a:gd name="connsiteX13" fmla="*/ 0 w 456334"/>
                  <a:gd name="connsiteY13" fmla="*/ 419791 h 575981"/>
                  <a:gd name="connsiteX14" fmla="*/ 197331 w 456334"/>
                  <a:gd name="connsiteY14" fmla="*/ 513900 h 575981"/>
                  <a:gd name="connsiteX15" fmla="*/ 386697 w 456334"/>
                  <a:gd name="connsiteY15" fmla="*/ 305728 h 575981"/>
                  <a:gd name="connsiteX16" fmla="*/ 386697 w 456334"/>
                  <a:gd name="connsiteY16" fmla="*/ 276905 h 575981"/>
                  <a:gd name="connsiteX17" fmla="*/ 264833 w 456334"/>
                  <a:gd name="connsiteY17" fmla="*/ 290208 h 575981"/>
                  <a:gd name="connsiteX18" fmla="*/ 71032 w 456334"/>
                  <a:gd name="connsiteY18" fmla="*/ 417574 h 575981"/>
                  <a:gd name="connsiteX19" fmla="*/ 197250 w 456334"/>
                  <a:gd name="connsiteY1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6334" h="575981">
                    <a:moveTo>
                      <a:pt x="164" y="419791"/>
                    </a:moveTo>
                    <a:cubicBezTo>
                      <a:pt x="164" y="305728"/>
                      <a:pt x="78834" y="252515"/>
                      <a:pt x="260399" y="233710"/>
                    </a:cubicBezTo>
                    <a:lnTo>
                      <a:pt x="386697" y="220407"/>
                    </a:lnTo>
                    <a:lnTo>
                      <a:pt x="386697" y="196018"/>
                    </a:lnTo>
                    <a:cubicBezTo>
                      <a:pt x="386697" y="114063"/>
                      <a:pt x="324698" y="62000"/>
                      <a:pt x="234942" y="62000"/>
                    </a:cubicBezTo>
                    <a:cubicBezTo>
                      <a:pt x="145186" y="62000"/>
                      <a:pt x="88770" y="111846"/>
                      <a:pt x="76535" y="196018"/>
                    </a:cubicBezTo>
                    <a:lnTo>
                      <a:pt x="4516" y="196018"/>
                    </a:lnTo>
                    <a:cubicBezTo>
                      <a:pt x="20037" y="87457"/>
                      <a:pt x="104209" y="0"/>
                      <a:pt x="234860" y="0"/>
                    </a:cubicBezTo>
                    <a:cubicBezTo>
                      <a:pt x="365511" y="0"/>
                      <a:pt x="456334" y="78670"/>
                      <a:pt x="456334" y="201602"/>
                    </a:cubicBezTo>
                    <a:lnTo>
                      <a:pt x="456334" y="567113"/>
                    </a:lnTo>
                    <a:lnTo>
                      <a:pt x="386533" y="567113"/>
                    </a:lnTo>
                    <a:lnTo>
                      <a:pt x="386533" y="451900"/>
                    </a:lnTo>
                    <a:cubicBezTo>
                      <a:pt x="366579" y="521701"/>
                      <a:pt x="284624" y="575982"/>
                      <a:pt x="192733" y="575982"/>
                    </a:cubicBezTo>
                    <a:cubicBezTo>
                      <a:pt x="74235" y="575982"/>
                      <a:pt x="0" y="515049"/>
                      <a:pt x="0" y="419791"/>
                    </a:cubicBezTo>
                    <a:close/>
                    <a:moveTo>
                      <a:pt x="197331" y="513900"/>
                    </a:moveTo>
                    <a:cubicBezTo>
                      <a:pt x="310327" y="513900"/>
                      <a:pt x="386697" y="428660"/>
                      <a:pt x="386697" y="305728"/>
                    </a:cubicBezTo>
                    <a:lnTo>
                      <a:pt x="386697" y="276905"/>
                    </a:lnTo>
                    <a:lnTo>
                      <a:pt x="264833" y="290208"/>
                    </a:lnTo>
                    <a:cubicBezTo>
                      <a:pt x="128598" y="305728"/>
                      <a:pt x="71032" y="336769"/>
                      <a:pt x="71032" y="417574"/>
                    </a:cubicBezTo>
                    <a:cubicBezTo>
                      <a:pt x="71032" y="476289"/>
                      <a:pt x="119729" y="513900"/>
                      <a:pt x="197250" y="513900"/>
                    </a:cubicBezTo>
                    <a:close/>
                  </a:path>
                </a:pathLst>
              </a:custGeom>
              <a:solidFill>
                <a:srgbClr val="022E33"/>
              </a:solidFill>
              <a:ln w="8212" cap="flat">
                <a:noFill/>
                <a:prstDash val="solid"/>
                <a:miter/>
              </a:ln>
            </p:spPr>
            <p:txBody>
              <a:bodyPr rtlCol="0" anchor="ctr"/>
              <a:lstStyle/>
              <a:p>
                <a:endParaRPr lang="en-US"/>
              </a:p>
            </p:txBody>
          </p:sp>
          <p:sp>
            <p:nvSpPr>
              <p:cNvPr id="47" name="Freeform: Shape 24">
                <a:extLst>
                  <a:ext uri="{FF2B5EF4-FFF2-40B4-BE49-F238E27FC236}">
                    <a16:creationId xmlns:a16="http://schemas.microsoft.com/office/drawing/2014/main" id="{7056F47E-1AD5-2877-9864-D3CDB397BDC2}"/>
                  </a:ext>
                </a:extLst>
              </p:cNvPr>
              <p:cNvSpPr/>
              <p:nvPr/>
            </p:nvSpPr>
            <p:spPr>
              <a:xfrm>
                <a:off x="7824601" y="3301797"/>
                <a:ext cx="315664" cy="712216"/>
              </a:xfrm>
              <a:custGeom>
                <a:avLst/>
                <a:gdLst>
                  <a:gd name="connsiteX0" fmla="*/ 97475 w 315664"/>
                  <a:gd name="connsiteY0" fmla="*/ 549375 h 712216"/>
                  <a:gd name="connsiteX1" fmla="*/ 97475 w 315664"/>
                  <a:gd name="connsiteY1" fmla="*/ 203819 h 712216"/>
                  <a:gd name="connsiteX2" fmla="*/ 0 w 315664"/>
                  <a:gd name="connsiteY2" fmla="*/ 203819 h 712216"/>
                  <a:gd name="connsiteX3" fmla="*/ 0 w 315664"/>
                  <a:gd name="connsiteY3" fmla="*/ 145104 h 712216"/>
                  <a:gd name="connsiteX4" fmla="*/ 97475 w 315664"/>
                  <a:gd name="connsiteY4" fmla="*/ 145104 h 712216"/>
                  <a:gd name="connsiteX5" fmla="*/ 97475 w 315664"/>
                  <a:gd name="connsiteY5" fmla="*/ 0 h 712216"/>
                  <a:gd name="connsiteX6" fmla="*/ 167276 w 315664"/>
                  <a:gd name="connsiteY6" fmla="*/ 0 h 712216"/>
                  <a:gd name="connsiteX7" fmla="*/ 167276 w 315664"/>
                  <a:gd name="connsiteY7" fmla="*/ 145104 h 712216"/>
                  <a:gd name="connsiteX8" fmla="*/ 314597 w 315664"/>
                  <a:gd name="connsiteY8" fmla="*/ 145104 h 712216"/>
                  <a:gd name="connsiteX9" fmla="*/ 314597 w 315664"/>
                  <a:gd name="connsiteY9" fmla="*/ 203819 h 712216"/>
                  <a:gd name="connsiteX10" fmla="*/ 167276 w 315664"/>
                  <a:gd name="connsiteY10" fmla="*/ 203819 h 712216"/>
                  <a:gd name="connsiteX11" fmla="*/ 167276 w 315664"/>
                  <a:gd name="connsiteY11" fmla="*/ 544941 h 712216"/>
                  <a:gd name="connsiteX12" fmla="*/ 252515 w 315664"/>
                  <a:gd name="connsiteY12" fmla="*/ 649067 h 712216"/>
                  <a:gd name="connsiteX13" fmla="*/ 315665 w 315664"/>
                  <a:gd name="connsiteY13" fmla="*/ 637981 h 712216"/>
                  <a:gd name="connsiteX14" fmla="*/ 315665 w 315664"/>
                  <a:gd name="connsiteY14" fmla="*/ 698913 h 712216"/>
                  <a:gd name="connsiteX15" fmla="*/ 245864 w 315664"/>
                  <a:gd name="connsiteY15" fmla="*/ 712217 h 712216"/>
                  <a:gd name="connsiteX16" fmla="*/ 97475 w 315664"/>
                  <a:gd name="connsiteY16" fmla="*/ 549375 h 71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5664" h="712216">
                    <a:moveTo>
                      <a:pt x="97475" y="549375"/>
                    </a:moveTo>
                    <a:lnTo>
                      <a:pt x="97475" y="203819"/>
                    </a:lnTo>
                    <a:lnTo>
                      <a:pt x="0" y="203819"/>
                    </a:lnTo>
                    <a:lnTo>
                      <a:pt x="0" y="145104"/>
                    </a:lnTo>
                    <a:lnTo>
                      <a:pt x="97475" y="145104"/>
                    </a:lnTo>
                    <a:lnTo>
                      <a:pt x="97475" y="0"/>
                    </a:lnTo>
                    <a:lnTo>
                      <a:pt x="167276" y="0"/>
                    </a:lnTo>
                    <a:lnTo>
                      <a:pt x="167276" y="145104"/>
                    </a:lnTo>
                    <a:lnTo>
                      <a:pt x="314597" y="145104"/>
                    </a:lnTo>
                    <a:lnTo>
                      <a:pt x="314597" y="203819"/>
                    </a:lnTo>
                    <a:lnTo>
                      <a:pt x="167276" y="203819"/>
                    </a:lnTo>
                    <a:lnTo>
                      <a:pt x="167276" y="544941"/>
                    </a:lnTo>
                    <a:cubicBezTo>
                      <a:pt x="167276" y="615809"/>
                      <a:pt x="201602" y="649067"/>
                      <a:pt x="252515" y="649067"/>
                    </a:cubicBezTo>
                    <a:cubicBezTo>
                      <a:pt x="273538" y="649067"/>
                      <a:pt x="297927" y="644633"/>
                      <a:pt x="315665" y="637981"/>
                    </a:cubicBezTo>
                    <a:lnTo>
                      <a:pt x="315665" y="698913"/>
                    </a:lnTo>
                    <a:cubicBezTo>
                      <a:pt x="296860" y="707782"/>
                      <a:pt x="269186" y="712217"/>
                      <a:pt x="245864" y="712217"/>
                    </a:cubicBezTo>
                    <a:cubicBezTo>
                      <a:pt x="158407" y="712217"/>
                      <a:pt x="97475" y="656869"/>
                      <a:pt x="97475" y="549375"/>
                    </a:cubicBezTo>
                    <a:close/>
                  </a:path>
                </a:pathLst>
              </a:custGeom>
              <a:solidFill>
                <a:srgbClr val="022E33"/>
              </a:solidFill>
              <a:ln w="8212" cap="flat">
                <a:noFill/>
                <a:prstDash val="solid"/>
                <a:miter/>
              </a:ln>
            </p:spPr>
            <p:txBody>
              <a:bodyPr rtlCol="0" anchor="ctr"/>
              <a:lstStyle/>
              <a:p>
                <a:endParaRPr lang="en-US"/>
              </a:p>
            </p:txBody>
          </p:sp>
          <p:sp>
            <p:nvSpPr>
              <p:cNvPr id="48" name="Freeform: Shape 25">
                <a:extLst>
                  <a:ext uri="{FF2B5EF4-FFF2-40B4-BE49-F238E27FC236}">
                    <a16:creationId xmlns:a16="http://schemas.microsoft.com/office/drawing/2014/main" id="{F37AB345-D49F-2B6D-1DFF-97D3CEC257F8}"/>
                  </a:ext>
                </a:extLst>
              </p:cNvPr>
              <p:cNvSpPr/>
              <p:nvPr/>
            </p:nvSpPr>
            <p:spPr>
              <a:xfrm>
                <a:off x="8210066"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9" name="Freeform: Shape 26">
                <a:extLst>
                  <a:ext uri="{FF2B5EF4-FFF2-40B4-BE49-F238E27FC236}">
                    <a16:creationId xmlns:a16="http://schemas.microsoft.com/office/drawing/2014/main" id="{54368A8B-ED36-B322-1E80-16C2C7B11513}"/>
                  </a:ext>
                </a:extLst>
              </p:cNvPr>
              <p:cNvSpPr/>
              <p:nvPr/>
            </p:nvSpPr>
            <p:spPr>
              <a:xfrm>
                <a:off x="8411586" y="3438032"/>
                <a:ext cx="554877" cy="575981"/>
              </a:xfrm>
              <a:custGeom>
                <a:avLst/>
                <a:gdLst>
                  <a:gd name="connsiteX0" fmla="*/ 0 w 554877"/>
                  <a:gd name="connsiteY0" fmla="*/ 287991 h 575981"/>
                  <a:gd name="connsiteX1" fmla="*/ 277973 w 554877"/>
                  <a:gd name="connsiteY1" fmla="*/ 0 h 575981"/>
                  <a:gd name="connsiteX2" fmla="*/ 554877 w 554877"/>
                  <a:gd name="connsiteY2" fmla="*/ 287991 h 575981"/>
                  <a:gd name="connsiteX3" fmla="*/ 277973 w 554877"/>
                  <a:gd name="connsiteY3" fmla="*/ 575982 h 575981"/>
                  <a:gd name="connsiteX4" fmla="*/ 0 w 554877"/>
                  <a:gd name="connsiteY4" fmla="*/ 287991 h 575981"/>
                  <a:gd name="connsiteX5" fmla="*/ 277973 w 554877"/>
                  <a:gd name="connsiteY5" fmla="*/ 513900 h 575981"/>
                  <a:gd name="connsiteX6" fmla="*/ 484008 w 554877"/>
                  <a:gd name="connsiteY6" fmla="*/ 287991 h 575981"/>
                  <a:gd name="connsiteX7" fmla="*/ 277973 w 554877"/>
                  <a:gd name="connsiteY7" fmla="*/ 62082 h 575981"/>
                  <a:gd name="connsiteX8" fmla="*/ 71936 w 554877"/>
                  <a:gd name="connsiteY8" fmla="*/ 287991 h 575981"/>
                  <a:gd name="connsiteX9" fmla="*/ 277973 w 554877"/>
                  <a:gd name="connsiteY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877" h="575981">
                    <a:moveTo>
                      <a:pt x="0" y="287991"/>
                    </a:moveTo>
                    <a:cubicBezTo>
                      <a:pt x="0" y="119647"/>
                      <a:pt x="117430" y="0"/>
                      <a:pt x="277973" y="0"/>
                    </a:cubicBezTo>
                    <a:cubicBezTo>
                      <a:pt x="438515" y="0"/>
                      <a:pt x="554877" y="119647"/>
                      <a:pt x="554877" y="287991"/>
                    </a:cubicBezTo>
                    <a:cubicBezTo>
                      <a:pt x="554877" y="456334"/>
                      <a:pt x="437447" y="575982"/>
                      <a:pt x="277973" y="575982"/>
                    </a:cubicBezTo>
                    <a:cubicBezTo>
                      <a:pt x="118497" y="575982"/>
                      <a:pt x="0" y="456334"/>
                      <a:pt x="0" y="287991"/>
                    </a:cubicBezTo>
                    <a:close/>
                    <a:moveTo>
                      <a:pt x="277973" y="513900"/>
                    </a:moveTo>
                    <a:cubicBezTo>
                      <a:pt x="397620" y="513900"/>
                      <a:pt x="484008" y="420859"/>
                      <a:pt x="484008" y="287991"/>
                    </a:cubicBezTo>
                    <a:cubicBezTo>
                      <a:pt x="484008" y="155122"/>
                      <a:pt x="397620" y="62082"/>
                      <a:pt x="277973" y="62082"/>
                    </a:cubicBezTo>
                    <a:cubicBezTo>
                      <a:pt x="158325" y="62082"/>
                      <a:pt x="71936" y="155122"/>
                      <a:pt x="71936" y="287991"/>
                    </a:cubicBezTo>
                    <a:cubicBezTo>
                      <a:pt x="71936" y="420859"/>
                      <a:pt x="158325" y="513900"/>
                      <a:pt x="277973" y="513900"/>
                    </a:cubicBezTo>
                    <a:close/>
                  </a:path>
                </a:pathLst>
              </a:custGeom>
              <a:solidFill>
                <a:srgbClr val="022E33"/>
              </a:solidFill>
              <a:ln w="8212" cap="flat">
                <a:noFill/>
                <a:prstDash val="solid"/>
                <a:miter/>
              </a:ln>
            </p:spPr>
            <p:txBody>
              <a:bodyPr rtlCol="0" anchor="ctr"/>
              <a:lstStyle/>
              <a:p>
                <a:endParaRPr lang="en-US"/>
              </a:p>
            </p:txBody>
          </p:sp>
          <p:sp>
            <p:nvSpPr>
              <p:cNvPr id="50" name="Freeform: Shape 27">
                <a:extLst>
                  <a:ext uri="{FF2B5EF4-FFF2-40B4-BE49-F238E27FC236}">
                    <a16:creationId xmlns:a16="http://schemas.microsoft.com/office/drawing/2014/main" id="{83CEFC43-47CE-F71A-38BE-57E5CCFC06A9}"/>
                  </a:ext>
                </a:extLst>
              </p:cNvPr>
              <p:cNvSpPr/>
              <p:nvPr/>
            </p:nvSpPr>
            <p:spPr>
              <a:xfrm>
                <a:off x="9081676" y="3438114"/>
                <a:ext cx="484008" cy="567194"/>
              </a:xfrm>
              <a:custGeom>
                <a:avLst/>
                <a:gdLst>
                  <a:gd name="connsiteX0" fmla="*/ 0 w 484008"/>
                  <a:gd name="connsiteY0" fmla="*/ 8869 h 567194"/>
                  <a:gd name="connsiteX1" fmla="*/ 69801 w 484008"/>
                  <a:gd name="connsiteY1" fmla="*/ 8869 h 567194"/>
                  <a:gd name="connsiteX2" fmla="*/ 69801 w 484008"/>
                  <a:gd name="connsiteY2" fmla="*/ 134018 h 567194"/>
                  <a:gd name="connsiteX3" fmla="*/ 282406 w 484008"/>
                  <a:gd name="connsiteY3" fmla="*/ 0 h 567194"/>
                  <a:gd name="connsiteX4" fmla="*/ 484008 w 484008"/>
                  <a:gd name="connsiteY4" fmla="*/ 199385 h 567194"/>
                  <a:gd name="connsiteX5" fmla="*/ 484008 w 484008"/>
                  <a:gd name="connsiteY5" fmla="*/ 567113 h 567194"/>
                  <a:gd name="connsiteX6" fmla="*/ 413140 w 484008"/>
                  <a:gd name="connsiteY6" fmla="*/ 567113 h 567194"/>
                  <a:gd name="connsiteX7" fmla="*/ 413140 w 484008"/>
                  <a:gd name="connsiteY7" fmla="*/ 213837 h 567194"/>
                  <a:gd name="connsiteX8" fmla="*/ 270253 w 484008"/>
                  <a:gd name="connsiteY8" fmla="*/ 63231 h 567194"/>
                  <a:gd name="connsiteX9" fmla="*/ 69801 w 484008"/>
                  <a:gd name="connsiteY9" fmla="*/ 329050 h 567194"/>
                  <a:gd name="connsiteX10" fmla="*/ 69801 w 484008"/>
                  <a:gd name="connsiteY10" fmla="*/ 567195 h 567194"/>
                  <a:gd name="connsiteX11" fmla="*/ 0 w 484008"/>
                  <a:gd name="connsiteY11" fmla="*/ 567195 h 567194"/>
                  <a:gd name="connsiteX12" fmla="*/ 0 w 484008"/>
                  <a:gd name="connsiteY12" fmla="*/ 8869 h 56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008" h="567194">
                    <a:moveTo>
                      <a:pt x="0" y="8869"/>
                    </a:moveTo>
                    <a:lnTo>
                      <a:pt x="69801" y="8869"/>
                    </a:lnTo>
                    <a:lnTo>
                      <a:pt x="69801" y="134018"/>
                    </a:lnTo>
                    <a:cubicBezTo>
                      <a:pt x="103059" y="57565"/>
                      <a:pt x="180579" y="0"/>
                      <a:pt x="282406" y="0"/>
                    </a:cubicBezTo>
                    <a:cubicBezTo>
                      <a:pt x="398687" y="0"/>
                      <a:pt x="484008" y="70869"/>
                      <a:pt x="484008" y="199385"/>
                    </a:cubicBezTo>
                    <a:lnTo>
                      <a:pt x="484008" y="567113"/>
                    </a:lnTo>
                    <a:lnTo>
                      <a:pt x="413140" y="567113"/>
                    </a:lnTo>
                    <a:lnTo>
                      <a:pt x="413140" y="213837"/>
                    </a:lnTo>
                    <a:cubicBezTo>
                      <a:pt x="413140" y="114145"/>
                      <a:pt x="357792" y="63231"/>
                      <a:pt x="270253" y="63231"/>
                    </a:cubicBezTo>
                    <a:cubicBezTo>
                      <a:pt x="148389" y="63231"/>
                      <a:pt x="69801" y="168426"/>
                      <a:pt x="69801" y="329050"/>
                    </a:cubicBezTo>
                    <a:lnTo>
                      <a:pt x="69801" y="567195"/>
                    </a:lnTo>
                    <a:lnTo>
                      <a:pt x="0" y="567195"/>
                    </a:lnTo>
                    <a:lnTo>
                      <a:pt x="0" y="8869"/>
                    </a:lnTo>
                    <a:close/>
                  </a:path>
                </a:pathLst>
              </a:custGeom>
              <a:solidFill>
                <a:srgbClr val="022E33"/>
              </a:solidFill>
              <a:ln w="8212" cap="flat">
                <a:noFill/>
                <a:prstDash val="solid"/>
                <a:miter/>
              </a:ln>
            </p:spPr>
            <p:txBody>
              <a:bodyPr rtlCol="0" anchor="ctr"/>
              <a:lstStyle/>
              <a:p>
                <a:endParaRPr lang="en-US"/>
              </a:p>
            </p:txBody>
          </p:sp>
          <p:sp>
            <p:nvSpPr>
              <p:cNvPr id="51" name="Freeform: Shape 28">
                <a:extLst>
                  <a:ext uri="{FF2B5EF4-FFF2-40B4-BE49-F238E27FC236}">
                    <a16:creationId xmlns:a16="http://schemas.microsoft.com/office/drawing/2014/main" id="{53336379-AF7D-F58F-9BEE-011C15477633}"/>
                  </a:ext>
                </a:extLst>
              </p:cNvPr>
              <p:cNvSpPr/>
              <p:nvPr/>
            </p:nvSpPr>
            <p:spPr>
              <a:xfrm>
                <a:off x="9667429" y="3438114"/>
                <a:ext cx="416424" cy="575981"/>
              </a:xfrm>
              <a:custGeom>
                <a:avLst/>
                <a:gdLst>
                  <a:gd name="connsiteX0" fmla="*/ 82 w 416424"/>
                  <a:gd name="connsiteY0" fmla="*/ 386533 h 575981"/>
                  <a:gd name="connsiteX1" fmla="*/ 72101 w 416424"/>
                  <a:gd name="connsiteY1" fmla="*/ 386533 h 575981"/>
                  <a:gd name="connsiteX2" fmla="*/ 216055 w 416424"/>
                  <a:gd name="connsiteY2" fmla="*/ 513900 h 575981"/>
                  <a:gd name="connsiteX3" fmla="*/ 344489 w 416424"/>
                  <a:gd name="connsiteY3" fmla="*/ 409773 h 575981"/>
                  <a:gd name="connsiteX4" fmla="*/ 15521 w 416424"/>
                  <a:gd name="connsiteY4" fmla="*/ 145104 h 575981"/>
                  <a:gd name="connsiteX5" fmla="*/ 198235 w 416424"/>
                  <a:gd name="connsiteY5" fmla="*/ 0 h 575981"/>
                  <a:gd name="connsiteX6" fmla="*/ 402054 w 416424"/>
                  <a:gd name="connsiteY6" fmla="*/ 161692 h 575981"/>
                  <a:gd name="connsiteX7" fmla="*/ 330036 w 416424"/>
                  <a:gd name="connsiteY7" fmla="*/ 161692 h 575981"/>
                  <a:gd name="connsiteX8" fmla="*/ 198235 w 416424"/>
                  <a:gd name="connsiteY8" fmla="*/ 62000 h 575981"/>
                  <a:gd name="connsiteX9" fmla="*/ 85239 w 416424"/>
                  <a:gd name="connsiteY9" fmla="*/ 142887 h 575981"/>
                  <a:gd name="connsiteX10" fmla="*/ 416425 w 416424"/>
                  <a:gd name="connsiteY10" fmla="*/ 408705 h 575981"/>
                  <a:gd name="connsiteX11" fmla="*/ 215973 w 416424"/>
                  <a:gd name="connsiteY11" fmla="*/ 575981 h 575981"/>
                  <a:gd name="connsiteX12" fmla="*/ 0 w 416424"/>
                  <a:gd name="connsiteY12" fmla="*/ 386615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6424" h="575981">
                    <a:moveTo>
                      <a:pt x="82" y="386533"/>
                    </a:moveTo>
                    <a:lnTo>
                      <a:pt x="72101" y="386533"/>
                    </a:lnTo>
                    <a:cubicBezTo>
                      <a:pt x="78752" y="461836"/>
                      <a:pt x="127449" y="513900"/>
                      <a:pt x="216055" y="513900"/>
                    </a:cubicBezTo>
                    <a:cubicBezTo>
                      <a:pt x="292508" y="513900"/>
                      <a:pt x="344489" y="477357"/>
                      <a:pt x="344489" y="409773"/>
                    </a:cubicBezTo>
                    <a:cubicBezTo>
                      <a:pt x="344489" y="254733"/>
                      <a:pt x="15521" y="348841"/>
                      <a:pt x="15521" y="145104"/>
                    </a:cubicBezTo>
                    <a:cubicBezTo>
                      <a:pt x="15521" y="60932"/>
                      <a:pt x="89756" y="0"/>
                      <a:pt x="198235" y="0"/>
                    </a:cubicBezTo>
                    <a:cubicBezTo>
                      <a:pt x="317882" y="0"/>
                      <a:pt x="388751" y="59782"/>
                      <a:pt x="402054" y="161692"/>
                    </a:cubicBezTo>
                    <a:lnTo>
                      <a:pt x="330036" y="161692"/>
                    </a:lnTo>
                    <a:cubicBezTo>
                      <a:pt x="321167" y="97475"/>
                      <a:pt x="272471" y="62000"/>
                      <a:pt x="198235" y="62000"/>
                    </a:cubicBezTo>
                    <a:cubicBezTo>
                      <a:pt x="134018" y="62000"/>
                      <a:pt x="85239" y="90823"/>
                      <a:pt x="85239" y="142887"/>
                    </a:cubicBezTo>
                    <a:cubicBezTo>
                      <a:pt x="85239" y="285774"/>
                      <a:pt x="416425" y="188298"/>
                      <a:pt x="416425" y="408705"/>
                    </a:cubicBezTo>
                    <a:cubicBezTo>
                      <a:pt x="416425" y="509465"/>
                      <a:pt x="331185" y="575981"/>
                      <a:pt x="215973" y="575981"/>
                    </a:cubicBezTo>
                    <a:cubicBezTo>
                      <a:pt x="73086" y="575981"/>
                      <a:pt x="4435" y="481873"/>
                      <a:pt x="0" y="386615"/>
                    </a:cubicBezTo>
                    <a:close/>
                  </a:path>
                </a:pathLst>
              </a:custGeom>
              <a:solidFill>
                <a:srgbClr val="022E33"/>
              </a:solidFill>
              <a:ln w="821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4601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 white backgroun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DBF706C2-A6ED-897E-B994-DAD12B7D9CD2}"/>
              </a:ext>
            </a:extLst>
          </p:cNvPr>
          <p:cNvGrpSpPr/>
          <p:nvPr userDrawn="1"/>
        </p:nvGrpSpPr>
        <p:grpSpPr>
          <a:xfrm>
            <a:off x="3210709" y="3161790"/>
            <a:ext cx="5770583" cy="534421"/>
            <a:chOff x="1869557" y="3038867"/>
            <a:chExt cx="8450697" cy="782630"/>
          </a:xfrm>
        </p:grpSpPr>
        <p:grpSp>
          <p:nvGrpSpPr>
            <p:cNvPr id="2" name="Graphic 10">
              <a:extLst>
                <a:ext uri="{FF2B5EF4-FFF2-40B4-BE49-F238E27FC236}">
                  <a16:creationId xmlns:a16="http://schemas.microsoft.com/office/drawing/2014/main" id="{4B60B40B-B9C2-1D4A-435F-E8440EAD1FC3}"/>
                </a:ext>
              </a:extLst>
            </p:cNvPr>
            <p:cNvGrpSpPr/>
            <p:nvPr userDrawn="1"/>
          </p:nvGrpSpPr>
          <p:grpSpPr>
            <a:xfrm>
              <a:off x="1869557" y="3038867"/>
              <a:ext cx="4569287" cy="782630"/>
              <a:chOff x="1869557" y="3038867"/>
              <a:chExt cx="4569287" cy="782630"/>
            </a:xfrm>
            <a:solidFill>
              <a:srgbClr val="01796F"/>
            </a:solidFill>
          </p:grpSpPr>
          <p:sp>
            <p:nvSpPr>
              <p:cNvPr id="3" name="Freeform: Shape 12">
                <a:extLst>
                  <a:ext uri="{FF2B5EF4-FFF2-40B4-BE49-F238E27FC236}">
                    <a16:creationId xmlns:a16="http://schemas.microsoft.com/office/drawing/2014/main" id="{16718C6F-5C73-784E-9186-D723B4777929}"/>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4" name="Freeform: Shape 13">
                <a:extLst>
                  <a:ext uri="{FF2B5EF4-FFF2-40B4-BE49-F238E27FC236}">
                    <a16:creationId xmlns:a16="http://schemas.microsoft.com/office/drawing/2014/main" id="{532327F8-CF4E-13E5-2365-1D861680EB4C}"/>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 name="Freeform: Shape 14">
                <a:extLst>
                  <a:ext uri="{FF2B5EF4-FFF2-40B4-BE49-F238E27FC236}">
                    <a16:creationId xmlns:a16="http://schemas.microsoft.com/office/drawing/2014/main" id="{AD8E1528-58B2-BC8C-C0C4-93AED80EFB45}"/>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6" name="Freeform: Shape 15">
                <a:extLst>
                  <a:ext uri="{FF2B5EF4-FFF2-40B4-BE49-F238E27FC236}">
                    <a16:creationId xmlns:a16="http://schemas.microsoft.com/office/drawing/2014/main" id="{7483239B-1700-FFA2-0EBC-6CB67B4D814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A907E126-9AAC-0BF4-025A-32CB56EDADB1}"/>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12F230FD-86EA-CD17-F4BA-F4D8EB0512AE}"/>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12" name="Graphic 10">
              <a:extLst>
                <a:ext uri="{FF2B5EF4-FFF2-40B4-BE49-F238E27FC236}">
                  <a16:creationId xmlns:a16="http://schemas.microsoft.com/office/drawing/2014/main" id="{DCBB51C4-224F-5B08-BCD0-ED59046061F9}"/>
                </a:ext>
              </a:extLst>
            </p:cNvPr>
            <p:cNvGrpSpPr/>
            <p:nvPr userDrawn="1"/>
          </p:nvGrpSpPr>
          <p:grpSpPr>
            <a:xfrm>
              <a:off x="6695031" y="3038867"/>
              <a:ext cx="3625223" cy="782630"/>
              <a:chOff x="6695031" y="3038867"/>
              <a:chExt cx="3625223" cy="782630"/>
            </a:xfrm>
            <a:solidFill>
              <a:srgbClr val="01796F"/>
            </a:solidFill>
          </p:grpSpPr>
          <p:sp>
            <p:nvSpPr>
              <p:cNvPr id="13" name="Freeform: Shape 19">
                <a:extLst>
                  <a:ext uri="{FF2B5EF4-FFF2-40B4-BE49-F238E27FC236}">
                    <a16:creationId xmlns:a16="http://schemas.microsoft.com/office/drawing/2014/main" id="{947349B2-9031-B98F-1C64-F96AB9F0B71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14" name="Freeform: Shape 20">
                <a:extLst>
                  <a:ext uri="{FF2B5EF4-FFF2-40B4-BE49-F238E27FC236}">
                    <a16:creationId xmlns:a16="http://schemas.microsoft.com/office/drawing/2014/main" id="{1B04C564-6BEF-A717-080C-7B3F049DFB8F}"/>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15" name="Freeform: Shape 21">
                <a:extLst>
                  <a:ext uri="{FF2B5EF4-FFF2-40B4-BE49-F238E27FC236}">
                    <a16:creationId xmlns:a16="http://schemas.microsoft.com/office/drawing/2014/main" id="{26B5BDDB-97C1-F364-864E-0650CECA19A0}"/>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16" name="Freeform: Shape 22">
                <a:extLst>
                  <a:ext uri="{FF2B5EF4-FFF2-40B4-BE49-F238E27FC236}">
                    <a16:creationId xmlns:a16="http://schemas.microsoft.com/office/drawing/2014/main" id="{9454743A-082E-4812-54CC-1479EA4F1C0B}"/>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17" name="Freeform: Shape 23">
                <a:extLst>
                  <a:ext uri="{FF2B5EF4-FFF2-40B4-BE49-F238E27FC236}">
                    <a16:creationId xmlns:a16="http://schemas.microsoft.com/office/drawing/2014/main" id="{97CC407C-BE6A-08F3-48B9-5999AFF5B118}"/>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030119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4" name="Bilde 13">
            <a:extLst>
              <a:ext uri="{FF2B5EF4-FFF2-40B4-BE49-F238E27FC236}">
                <a16:creationId xmlns:a16="http://schemas.microsoft.com/office/drawing/2014/main" id="{8C109D9A-DDF6-50EB-6060-D6488CD7456C}"/>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6" name="Plassholder for tekst 5">
            <a:extLst>
              <a:ext uri="{FF2B5EF4-FFF2-40B4-BE49-F238E27FC236}">
                <a16:creationId xmlns:a16="http://schemas.microsoft.com/office/drawing/2014/main" id="{2AA9A442-D2B2-74D7-B2DE-DF1F141E5DB6}"/>
              </a:ext>
            </a:extLst>
          </p:cNvPr>
          <p:cNvSpPr>
            <a:spLocks noGrp="1"/>
          </p:cNvSpPr>
          <p:nvPr>
            <p:ph type="body" sz="quarter" idx="16" hasCustomPrompt="1"/>
          </p:nvPr>
        </p:nvSpPr>
        <p:spPr>
          <a:xfrm>
            <a:off x="981493" y="2072789"/>
            <a:ext cx="10104020"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8" name="Bilde 17">
            <a:extLst>
              <a:ext uri="{FF2B5EF4-FFF2-40B4-BE49-F238E27FC236}">
                <a16:creationId xmlns:a16="http://schemas.microsoft.com/office/drawing/2014/main" id="{2A94FDF5-1A9F-1EB1-3E32-B48230DFB923}"/>
              </a:ext>
            </a:extLst>
          </p:cNvPr>
          <p:cNvPicPr>
            <a:picLocks noChangeAspect="1"/>
          </p:cNvPicPr>
          <p:nvPr userDrawn="1"/>
        </p:nvPicPr>
        <p:blipFill>
          <a:blip r:embed="rId5">
            <a:alphaModFix amt="40000"/>
          </a:blip>
          <a:stretch>
            <a:fillRect/>
          </a:stretch>
        </p:blipFill>
        <p:spPr>
          <a:xfrm>
            <a:off x="10805098" y="4091087"/>
            <a:ext cx="2091727" cy="2768600"/>
          </a:xfrm>
          <a:prstGeom prst="rect">
            <a:avLst/>
          </a:prstGeom>
        </p:spPr>
      </p:pic>
      <p:sp>
        <p:nvSpPr>
          <p:cNvPr id="19" name="TekstSylinder 18">
            <a:extLst>
              <a:ext uri="{FF2B5EF4-FFF2-40B4-BE49-F238E27FC236}">
                <a16:creationId xmlns:a16="http://schemas.microsoft.com/office/drawing/2014/main" id="{402040AE-AA56-4AC0-D2C7-062D83522292}"/>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85161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55BAE5AE-F22D-885D-1C63-BD6C0F21CC3F}"/>
              </a:ext>
            </a:extLst>
          </p:cNvPr>
          <p:cNvSpPr>
            <a:spLocks noGrp="1"/>
          </p:cNvSpPr>
          <p:nvPr>
            <p:ph type="body" sz="quarter" idx="16" hasCustomPrompt="1"/>
          </p:nvPr>
        </p:nvSpPr>
        <p:spPr>
          <a:xfrm>
            <a:off x="981493" y="2072789"/>
            <a:ext cx="5957189"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CAE188F2-AD36-FAFF-7D17-BD3ABD31DF54}"/>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330211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BA265EDC-1F39-AFC6-3A79-0A978E063B65}"/>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0E55D9D3-F9CB-FDE3-C4E4-F20A5D52E06A}"/>
              </a:ext>
            </a:extLst>
          </p:cNvPr>
          <p:cNvPicPr>
            <a:picLocks noChangeAspect="1"/>
          </p:cNvPicPr>
          <p:nvPr userDrawn="1"/>
        </p:nvPicPr>
        <p:blipFill>
          <a:blip r:embed="rId2">
            <a:alphaModFix amt="40000"/>
          </a:blip>
          <a:stretch>
            <a:fillRect/>
          </a:stretch>
        </p:blipFill>
        <p:spPr>
          <a:xfrm>
            <a:off x="10805098" y="4091087"/>
            <a:ext cx="2091727" cy="2768600"/>
          </a:xfrm>
          <a:prstGeom prst="rect">
            <a:avLst/>
          </a:prstGeom>
        </p:spPr>
      </p:pic>
      <p:pic>
        <p:nvPicPr>
          <p:cNvPr id="13" name="Bilde 12">
            <a:extLst>
              <a:ext uri="{FF2B5EF4-FFF2-40B4-BE49-F238E27FC236}">
                <a16:creationId xmlns:a16="http://schemas.microsoft.com/office/drawing/2014/main" id="{B445DB7C-82F5-3E6A-D166-1B92F8513E13}"/>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4" name="TekstSylinder 13">
            <a:extLst>
              <a:ext uri="{FF2B5EF4-FFF2-40B4-BE49-F238E27FC236}">
                <a16:creationId xmlns:a16="http://schemas.microsoft.com/office/drawing/2014/main" id="{6DB4B2A3-3813-3375-6030-F9CD261CDEFC}"/>
              </a:ext>
            </a:extLst>
          </p:cNvPr>
          <p:cNvSpPr txBox="1"/>
          <p:nvPr userDrawn="1"/>
        </p:nvSpPr>
        <p:spPr>
          <a:xfrm>
            <a:off x="56335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81329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D5B8F4EF-18E9-14E2-0C9E-86DDDF9F2D12}"/>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7E3E140-7C94-FD9E-60F2-7FDEE362C14A}"/>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945696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ontel Markedplace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4" name="Gruppe 33">
            <a:extLst>
              <a:ext uri="{FF2B5EF4-FFF2-40B4-BE49-F238E27FC236}">
                <a16:creationId xmlns:a16="http://schemas.microsoft.com/office/drawing/2014/main" id="{65B905BD-E06E-39A5-2A9A-BE4AF14AF8CD}"/>
              </a:ext>
            </a:extLst>
          </p:cNvPr>
          <p:cNvGrpSpPr/>
          <p:nvPr userDrawn="1"/>
        </p:nvGrpSpPr>
        <p:grpSpPr>
          <a:xfrm>
            <a:off x="1467857" y="2279376"/>
            <a:ext cx="5690172" cy="1222106"/>
            <a:chOff x="1737360" y="2493122"/>
            <a:chExt cx="8718236" cy="1872458"/>
          </a:xfrm>
        </p:grpSpPr>
        <p:grpSp>
          <p:nvGrpSpPr>
            <p:cNvPr id="35" name="Graphic 3">
              <a:extLst>
                <a:ext uri="{FF2B5EF4-FFF2-40B4-BE49-F238E27FC236}">
                  <a16:creationId xmlns:a16="http://schemas.microsoft.com/office/drawing/2014/main" id="{B45D6F03-EAC5-18DB-7EFE-7BFF311A1E49}"/>
                </a:ext>
              </a:extLst>
            </p:cNvPr>
            <p:cNvGrpSpPr/>
            <p:nvPr/>
          </p:nvGrpSpPr>
          <p:grpSpPr>
            <a:xfrm>
              <a:off x="1737360" y="2493122"/>
              <a:ext cx="1872457" cy="1872458"/>
              <a:chOff x="1737360" y="2493122"/>
              <a:chExt cx="1872457" cy="1872458"/>
            </a:xfrm>
          </p:grpSpPr>
          <p:sp>
            <p:nvSpPr>
              <p:cNvPr id="55" name="Freeform: Shape 7">
                <a:extLst>
                  <a:ext uri="{FF2B5EF4-FFF2-40B4-BE49-F238E27FC236}">
                    <a16:creationId xmlns:a16="http://schemas.microsoft.com/office/drawing/2014/main" id="{2375A116-1F6C-6AE9-D335-9ACCFD2539EC}"/>
                  </a:ext>
                </a:extLst>
              </p:cNvPr>
              <p:cNvSpPr/>
              <p:nvPr/>
            </p:nvSpPr>
            <p:spPr>
              <a:xfrm>
                <a:off x="1737360" y="2493122"/>
                <a:ext cx="1872457" cy="1872458"/>
              </a:xfrm>
              <a:custGeom>
                <a:avLst/>
                <a:gdLst>
                  <a:gd name="connsiteX0" fmla="*/ 1872458 w 1872457"/>
                  <a:gd name="connsiteY0" fmla="*/ 936229 h 1872458"/>
                  <a:gd name="connsiteX1" fmla="*/ 936229 w 1872457"/>
                  <a:gd name="connsiteY1" fmla="*/ 1872458 h 1872458"/>
                  <a:gd name="connsiteX2" fmla="*/ 0 w 1872457"/>
                  <a:gd name="connsiteY2" fmla="*/ 936229 h 1872458"/>
                  <a:gd name="connsiteX3" fmla="*/ 936229 w 1872457"/>
                  <a:gd name="connsiteY3" fmla="*/ 0 h 1872458"/>
                  <a:gd name="connsiteX4" fmla="*/ 1872458 w 1872457"/>
                  <a:gd name="connsiteY4" fmla="*/ 936229 h 187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457" h="1872458">
                    <a:moveTo>
                      <a:pt x="1872458" y="936229"/>
                    </a:moveTo>
                    <a:cubicBezTo>
                      <a:pt x="1872458" y="1453294"/>
                      <a:pt x="1453294" y="1872458"/>
                      <a:pt x="936229" y="1872458"/>
                    </a:cubicBezTo>
                    <a:cubicBezTo>
                      <a:pt x="419164" y="1872458"/>
                      <a:pt x="0" y="1453294"/>
                      <a:pt x="0" y="936229"/>
                    </a:cubicBezTo>
                    <a:cubicBezTo>
                      <a:pt x="0" y="419164"/>
                      <a:pt x="419164" y="0"/>
                      <a:pt x="936229" y="0"/>
                    </a:cubicBezTo>
                    <a:cubicBezTo>
                      <a:pt x="1453294" y="0"/>
                      <a:pt x="1872458" y="419164"/>
                      <a:pt x="1872458" y="936229"/>
                    </a:cubicBezTo>
                    <a:close/>
                  </a:path>
                </a:pathLst>
              </a:custGeom>
              <a:solidFill>
                <a:srgbClr val="022E33"/>
              </a:solidFill>
              <a:ln w="8786" cap="flat">
                <a:noFill/>
                <a:prstDash val="solid"/>
                <a:miter/>
              </a:ln>
            </p:spPr>
            <p:txBody>
              <a:bodyPr rtlCol="0" anchor="ctr"/>
              <a:lstStyle/>
              <a:p>
                <a:endParaRPr lang="en-US"/>
              </a:p>
            </p:txBody>
          </p:sp>
          <p:grpSp>
            <p:nvGrpSpPr>
              <p:cNvPr id="56" name="Graphic 3">
                <a:extLst>
                  <a:ext uri="{FF2B5EF4-FFF2-40B4-BE49-F238E27FC236}">
                    <a16:creationId xmlns:a16="http://schemas.microsoft.com/office/drawing/2014/main" id="{C97A1549-017D-D1B4-415C-2F94E850CD25}"/>
                  </a:ext>
                </a:extLst>
              </p:cNvPr>
              <p:cNvGrpSpPr/>
              <p:nvPr/>
            </p:nvGrpSpPr>
            <p:grpSpPr>
              <a:xfrm>
                <a:off x="2120322" y="3034261"/>
                <a:ext cx="1106619" cy="790179"/>
                <a:chOff x="2120322" y="3034261"/>
                <a:chExt cx="1106619" cy="790179"/>
              </a:xfrm>
              <a:solidFill>
                <a:srgbClr val="FFFFFF"/>
              </a:solidFill>
            </p:grpSpPr>
            <p:sp>
              <p:nvSpPr>
                <p:cNvPr id="57" name="Freeform: Shape 9">
                  <a:extLst>
                    <a:ext uri="{FF2B5EF4-FFF2-40B4-BE49-F238E27FC236}">
                      <a16:creationId xmlns:a16="http://schemas.microsoft.com/office/drawing/2014/main" id="{76B56077-317D-1AE8-D2A8-F08C8464CCD1}"/>
                    </a:ext>
                  </a:extLst>
                </p:cNvPr>
                <p:cNvSpPr/>
                <p:nvPr/>
              </p:nvSpPr>
              <p:spPr>
                <a:xfrm>
                  <a:off x="2436587" y="3043021"/>
                  <a:ext cx="790354" cy="781418"/>
                </a:xfrm>
                <a:custGeom>
                  <a:avLst/>
                  <a:gdLst>
                    <a:gd name="connsiteX0" fmla="*/ 702567 w 790354"/>
                    <a:gd name="connsiteY0" fmla="*/ 138080 h 781418"/>
                    <a:gd name="connsiteX1" fmla="*/ 482878 w 790354"/>
                    <a:gd name="connsiteY1" fmla="*/ 994 h 781418"/>
                    <a:gd name="connsiteX2" fmla="*/ 435864 w 790354"/>
                    <a:gd name="connsiteY2" fmla="*/ 30608 h 781418"/>
                    <a:gd name="connsiteX3" fmla="*/ 465478 w 790354"/>
                    <a:gd name="connsiteY3" fmla="*/ 77621 h 781418"/>
                    <a:gd name="connsiteX4" fmla="*/ 641406 w 790354"/>
                    <a:gd name="connsiteY4" fmla="*/ 187466 h 781418"/>
                    <a:gd name="connsiteX5" fmla="*/ 711618 w 790354"/>
                    <a:gd name="connsiteY5" fmla="*/ 386329 h 781418"/>
                    <a:gd name="connsiteX6" fmla="*/ 395090 w 790354"/>
                    <a:gd name="connsiteY6" fmla="*/ 702858 h 781418"/>
                    <a:gd name="connsiteX7" fmla="*/ 78561 w 790354"/>
                    <a:gd name="connsiteY7" fmla="*/ 386329 h 781418"/>
                    <a:gd name="connsiteX8" fmla="*/ 123553 w 790354"/>
                    <a:gd name="connsiteY8" fmla="*/ 223583 h 781418"/>
                    <a:gd name="connsiteX9" fmla="*/ 110108 w 790354"/>
                    <a:gd name="connsiteY9" fmla="*/ 169627 h 781418"/>
                    <a:gd name="connsiteX10" fmla="*/ 56153 w 790354"/>
                    <a:gd name="connsiteY10" fmla="*/ 183072 h 781418"/>
                    <a:gd name="connsiteX11" fmla="*/ 0 w 790354"/>
                    <a:gd name="connsiteY11" fmla="*/ 386241 h 781418"/>
                    <a:gd name="connsiteX12" fmla="*/ 115732 w 790354"/>
                    <a:gd name="connsiteY12" fmla="*/ 665686 h 781418"/>
                    <a:gd name="connsiteX13" fmla="*/ 395178 w 790354"/>
                    <a:gd name="connsiteY13" fmla="*/ 781419 h 781418"/>
                    <a:gd name="connsiteX14" fmla="*/ 674623 w 790354"/>
                    <a:gd name="connsiteY14" fmla="*/ 665686 h 781418"/>
                    <a:gd name="connsiteX15" fmla="*/ 790355 w 790354"/>
                    <a:gd name="connsiteY15" fmla="*/ 386241 h 781418"/>
                    <a:gd name="connsiteX16" fmla="*/ 702655 w 790354"/>
                    <a:gd name="connsiteY16" fmla="*/ 137992 h 78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354" h="781418">
                      <a:moveTo>
                        <a:pt x="702567" y="138080"/>
                      </a:moveTo>
                      <a:cubicBezTo>
                        <a:pt x="646854" y="69185"/>
                        <a:pt x="568820" y="20502"/>
                        <a:pt x="482878" y="994"/>
                      </a:cubicBezTo>
                      <a:cubicBezTo>
                        <a:pt x="461700" y="-3840"/>
                        <a:pt x="440609" y="9430"/>
                        <a:pt x="435864" y="30608"/>
                      </a:cubicBezTo>
                      <a:cubicBezTo>
                        <a:pt x="431031" y="51786"/>
                        <a:pt x="444300" y="72876"/>
                        <a:pt x="465478" y="77621"/>
                      </a:cubicBezTo>
                      <a:cubicBezTo>
                        <a:pt x="534285" y="93263"/>
                        <a:pt x="596765" y="132280"/>
                        <a:pt x="641406" y="187466"/>
                      </a:cubicBezTo>
                      <a:cubicBezTo>
                        <a:pt x="687365" y="244322"/>
                        <a:pt x="711618" y="313041"/>
                        <a:pt x="711618" y="386329"/>
                      </a:cubicBezTo>
                      <a:cubicBezTo>
                        <a:pt x="711618" y="560850"/>
                        <a:pt x="569611" y="702858"/>
                        <a:pt x="395090" y="702858"/>
                      </a:cubicBezTo>
                      <a:cubicBezTo>
                        <a:pt x="220568" y="702858"/>
                        <a:pt x="78561" y="560850"/>
                        <a:pt x="78561" y="386329"/>
                      </a:cubicBezTo>
                      <a:cubicBezTo>
                        <a:pt x="78561" y="328858"/>
                        <a:pt x="94115" y="272618"/>
                        <a:pt x="123553" y="223583"/>
                      </a:cubicBezTo>
                      <a:cubicBezTo>
                        <a:pt x="134714" y="204953"/>
                        <a:pt x="128738" y="180787"/>
                        <a:pt x="110108" y="169627"/>
                      </a:cubicBezTo>
                      <a:cubicBezTo>
                        <a:pt x="91479" y="158467"/>
                        <a:pt x="67313" y="164443"/>
                        <a:pt x="56153" y="183072"/>
                      </a:cubicBezTo>
                      <a:cubicBezTo>
                        <a:pt x="19421" y="244234"/>
                        <a:pt x="0" y="314535"/>
                        <a:pt x="0" y="386241"/>
                      </a:cubicBezTo>
                      <a:cubicBezTo>
                        <a:pt x="0" y="491780"/>
                        <a:pt x="41126" y="590992"/>
                        <a:pt x="115732" y="665686"/>
                      </a:cubicBezTo>
                      <a:cubicBezTo>
                        <a:pt x="190339" y="740293"/>
                        <a:pt x="289639" y="781419"/>
                        <a:pt x="395178" y="781419"/>
                      </a:cubicBezTo>
                      <a:cubicBezTo>
                        <a:pt x="500716" y="781419"/>
                        <a:pt x="599928" y="740293"/>
                        <a:pt x="674623" y="665686"/>
                      </a:cubicBezTo>
                      <a:cubicBezTo>
                        <a:pt x="749229" y="591080"/>
                        <a:pt x="790355" y="491780"/>
                        <a:pt x="790355" y="386241"/>
                      </a:cubicBezTo>
                      <a:cubicBezTo>
                        <a:pt x="790355" y="296081"/>
                        <a:pt x="759159" y="207941"/>
                        <a:pt x="702655" y="137992"/>
                      </a:cubicBezTo>
                      <a:close/>
                    </a:path>
                  </a:pathLst>
                </a:custGeom>
                <a:solidFill>
                  <a:srgbClr val="A3EDE3"/>
                </a:solidFill>
                <a:ln w="8786" cap="flat">
                  <a:noFill/>
                  <a:prstDash val="solid"/>
                  <a:miter/>
                </a:ln>
              </p:spPr>
              <p:txBody>
                <a:bodyPr rtlCol="0" anchor="ctr"/>
                <a:lstStyle/>
                <a:p>
                  <a:endParaRPr lang="en-US"/>
                </a:p>
              </p:txBody>
            </p:sp>
            <p:sp>
              <p:nvSpPr>
                <p:cNvPr id="58" name="Freeform: Shape 10">
                  <a:extLst>
                    <a:ext uri="{FF2B5EF4-FFF2-40B4-BE49-F238E27FC236}">
                      <a16:creationId xmlns:a16="http://schemas.microsoft.com/office/drawing/2014/main" id="{05D53F7A-DE1D-057A-921A-69047117F56E}"/>
                    </a:ext>
                  </a:extLst>
                </p:cNvPr>
                <p:cNvSpPr/>
                <p:nvPr/>
              </p:nvSpPr>
              <p:spPr>
                <a:xfrm>
                  <a:off x="2120322" y="3034261"/>
                  <a:ext cx="790355" cy="781479"/>
                </a:xfrm>
                <a:custGeom>
                  <a:avLst/>
                  <a:gdLst>
                    <a:gd name="connsiteX0" fmla="*/ 324877 w 790355"/>
                    <a:gd name="connsiteY0" fmla="*/ 703797 h 781479"/>
                    <a:gd name="connsiteX1" fmla="*/ 148949 w 790355"/>
                    <a:gd name="connsiteY1" fmla="*/ 593953 h 781479"/>
                    <a:gd name="connsiteX2" fmla="*/ 78737 w 790355"/>
                    <a:gd name="connsiteY2" fmla="*/ 395090 h 781479"/>
                    <a:gd name="connsiteX3" fmla="*/ 395265 w 790355"/>
                    <a:gd name="connsiteY3" fmla="*/ 78561 h 781479"/>
                    <a:gd name="connsiteX4" fmla="*/ 711794 w 790355"/>
                    <a:gd name="connsiteY4" fmla="*/ 395090 h 781479"/>
                    <a:gd name="connsiteX5" fmla="*/ 666802 w 790355"/>
                    <a:gd name="connsiteY5" fmla="*/ 557836 h 781479"/>
                    <a:gd name="connsiteX6" fmla="*/ 680247 w 790355"/>
                    <a:gd name="connsiteY6" fmla="*/ 611791 h 781479"/>
                    <a:gd name="connsiteX7" fmla="*/ 734202 w 790355"/>
                    <a:gd name="connsiteY7" fmla="*/ 598346 h 781479"/>
                    <a:gd name="connsiteX8" fmla="*/ 790355 w 790355"/>
                    <a:gd name="connsiteY8" fmla="*/ 395178 h 781479"/>
                    <a:gd name="connsiteX9" fmla="*/ 674623 w 790355"/>
                    <a:gd name="connsiteY9" fmla="*/ 115732 h 781479"/>
                    <a:gd name="connsiteX10" fmla="*/ 395178 w 790355"/>
                    <a:gd name="connsiteY10" fmla="*/ 0 h 781479"/>
                    <a:gd name="connsiteX11" fmla="*/ 115732 w 790355"/>
                    <a:gd name="connsiteY11" fmla="*/ 115732 h 781479"/>
                    <a:gd name="connsiteX12" fmla="*/ 0 w 790355"/>
                    <a:gd name="connsiteY12" fmla="*/ 395178 h 781479"/>
                    <a:gd name="connsiteX13" fmla="*/ 87700 w 790355"/>
                    <a:gd name="connsiteY13" fmla="*/ 643427 h 781479"/>
                    <a:gd name="connsiteX14" fmla="*/ 307390 w 790355"/>
                    <a:gd name="connsiteY14" fmla="*/ 780513 h 781479"/>
                    <a:gd name="connsiteX15" fmla="*/ 316089 w 790355"/>
                    <a:gd name="connsiteY15" fmla="*/ 781480 h 781479"/>
                    <a:gd name="connsiteX16" fmla="*/ 354403 w 790355"/>
                    <a:gd name="connsiteY16" fmla="*/ 750811 h 781479"/>
                    <a:gd name="connsiteX17" fmla="*/ 324789 w 790355"/>
                    <a:gd name="connsiteY17" fmla="*/ 703797 h 78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0355" h="781479">
                      <a:moveTo>
                        <a:pt x="324877" y="703797"/>
                      </a:moveTo>
                      <a:cubicBezTo>
                        <a:pt x="256070" y="688156"/>
                        <a:pt x="193590" y="649139"/>
                        <a:pt x="148949" y="593953"/>
                      </a:cubicBezTo>
                      <a:cubicBezTo>
                        <a:pt x="102990" y="537097"/>
                        <a:pt x="78737" y="468378"/>
                        <a:pt x="78737" y="395090"/>
                      </a:cubicBezTo>
                      <a:cubicBezTo>
                        <a:pt x="78737" y="220568"/>
                        <a:pt x="220744" y="78561"/>
                        <a:pt x="395265" y="78561"/>
                      </a:cubicBezTo>
                      <a:cubicBezTo>
                        <a:pt x="569787" y="78561"/>
                        <a:pt x="711794" y="220568"/>
                        <a:pt x="711794" y="395090"/>
                      </a:cubicBezTo>
                      <a:cubicBezTo>
                        <a:pt x="711794" y="452560"/>
                        <a:pt x="696240" y="508801"/>
                        <a:pt x="666802" y="557836"/>
                      </a:cubicBezTo>
                      <a:cubicBezTo>
                        <a:pt x="655641" y="576465"/>
                        <a:pt x="661617" y="600631"/>
                        <a:pt x="680247" y="611791"/>
                      </a:cubicBezTo>
                      <a:cubicBezTo>
                        <a:pt x="698876" y="622952"/>
                        <a:pt x="723042" y="616976"/>
                        <a:pt x="734202" y="598346"/>
                      </a:cubicBezTo>
                      <a:cubicBezTo>
                        <a:pt x="770934" y="537185"/>
                        <a:pt x="790355" y="466884"/>
                        <a:pt x="790355" y="395178"/>
                      </a:cubicBezTo>
                      <a:cubicBezTo>
                        <a:pt x="790355" y="289639"/>
                        <a:pt x="749229" y="190427"/>
                        <a:pt x="674623" y="115732"/>
                      </a:cubicBezTo>
                      <a:cubicBezTo>
                        <a:pt x="600016" y="41126"/>
                        <a:pt x="500716" y="0"/>
                        <a:pt x="395178" y="0"/>
                      </a:cubicBezTo>
                      <a:cubicBezTo>
                        <a:pt x="289639" y="0"/>
                        <a:pt x="190427" y="41126"/>
                        <a:pt x="115732" y="115732"/>
                      </a:cubicBezTo>
                      <a:cubicBezTo>
                        <a:pt x="41126" y="190339"/>
                        <a:pt x="0" y="289639"/>
                        <a:pt x="0" y="395178"/>
                      </a:cubicBezTo>
                      <a:cubicBezTo>
                        <a:pt x="0" y="485338"/>
                        <a:pt x="31196" y="573478"/>
                        <a:pt x="87700" y="643427"/>
                      </a:cubicBezTo>
                      <a:cubicBezTo>
                        <a:pt x="143413" y="712321"/>
                        <a:pt x="221447" y="761005"/>
                        <a:pt x="307390" y="780513"/>
                      </a:cubicBezTo>
                      <a:cubicBezTo>
                        <a:pt x="310289" y="781216"/>
                        <a:pt x="313277" y="781480"/>
                        <a:pt x="316089" y="781480"/>
                      </a:cubicBezTo>
                      <a:cubicBezTo>
                        <a:pt x="334016" y="781480"/>
                        <a:pt x="350273" y="769089"/>
                        <a:pt x="354403" y="750811"/>
                      </a:cubicBezTo>
                      <a:cubicBezTo>
                        <a:pt x="359236" y="729633"/>
                        <a:pt x="345967" y="708543"/>
                        <a:pt x="324789" y="703797"/>
                      </a:cubicBezTo>
                      <a:close/>
                    </a:path>
                  </a:pathLst>
                </a:custGeom>
                <a:solidFill>
                  <a:srgbClr val="A3EDE3"/>
                </a:solidFill>
                <a:ln w="8786" cap="flat">
                  <a:noFill/>
                  <a:prstDash val="solid"/>
                  <a:miter/>
                </a:ln>
              </p:spPr>
              <p:txBody>
                <a:bodyPr rtlCol="0" anchor="ctr"/>
                <a:lstStyle/>
                <a:p>
                  <a:endParaRPr lang="en-US"/>
                </a:p>
              </p:txBody>
            </p:sp>
          </p:grpSp>
        </p:grpSp>
        <p:grpSp>
          <p:nvGrpSpPr>
            <p:cNvPr id="36" name="Graphic 3">
              <a:extLst>
                <a:ext uri="{FF2B5EF4-FFF2-40B4-BE49-F238E27FC236}">
                  <a16:creationId xmlns:a16="http://schemas.microsoft.com/office/drawing/2014/main" id="{D6E8C30B-2FEA-CBDD-78EB-C61A40DCBF9C}"/>
                </a:ext>
              </a:extLst>
            </p:cNvPr>
            <p:cNvGrpSpPr/>
            <p:nvPr/>
          </p:nvGrpSpPr>
          <p:grpSpPr>
            <a:xfrm>
              <a:off x="4163698" y="2735659"/>
              <a:ext cx="1868503" cy="320043"/>
              <a:chOff x="4163698" y="2735659"/>
              <a:chExt cx="1868503" cy="320043"/>
            </a:xfrm>
            <a:solidFill>
              <a:srgbClr val="022E33"/>
            </a:solidFill>
          </p:grpSpPr>
          <p:sp>
            <p:nvSpPr>
              <p:cNvPr id="49" name="Freeform: Shape 12">
                <a:extLst>
                  <a:ext uri="{FF2B5EF4-FFF2-40B4-BE49-F238E27FC236}">
                    <a16:creationId xmlns:a16="http://schemas.microsoft.com/office/drawing/2014/main" id="{8AD977ED-DC68-9C87-76C7-629491483E0F}"/>
                  </a:ext>
                </a:extLst>
              </p:cNvPr>
              <p:cNvSpPr/>
              <p:nvPr/>
            </p:nvSpPr>
            <p:spPr>
              <a:xfrm>
                <a:off x="5263816" y="2739174"/>
                <a:ext cx="248952" cy="312837"/>
              </a:xfrm>
              <a:custGeom>
                <a:avLst/>
                <a:gdLst>
                  <a:gd name="connsiteX0" fmla="*/ 94291 w 248952"/>
                  <a:gd name="connsiteY0" fmla="*/ 51847 h 312837"/>
                  <a:gd name="connsiteX1" fmla="*/ 0 w 248952"/>
                  <a:gd name="connsiteY1" fmla="*/ 51847 h 312837"/>
                  <a:gd name="connsiteX2" fmla="*/ 0 w 248952"/>
                  <a:gd name="connsiteY2" fmla="*/ 0 h 312837"/>
                  <a:gd name="connsiteX3" fmla="*/ 248952 w 248952"/>
                  <a:gd name="connsiteY3" fmla="*/ 0 h 312837"/>
                  <a:gd name="connsiteX4" fmla="*/ 248952 w 248952"/>
                  <a:gd name="connsiteY4" fmla="*/ 51847 h 312837"/>
                  <a:gd name="connsiteX5" fmla="*/ 155101 w 248952"/>
                  <a:gd name="connsiteY5" fmla="*/ 51847 h 312837"/>
                  <a:gd name="connsiteX6" fmla="*/ 155101 w 248952"/>
                  <a:gd name="connsiteY6" fmla="*/ 312838 h 312837"/>
                  <a:gd name="connsiteX7" fmla="*/ 94291 w 248952"/>
                  <a:gd name="connsiteY7" fmla="*/ 312838 h 312837"/>
                  <a:gd name="connsiteX8" fmla="*/ 94291 w 248952"/>
                  <a:gd name="connsiteY8" fmla="*/ 51847 h 3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52" h="312837">
                    <a:moveTo>
                      <a:pt x="94291" y="51847"/>
                    </a:moveTo>
                    <a:lnTo>
                      <a:pt x="0" y="51847"/>
                    </a:lnTo>
                    <a:lnTo>
                      <a:pt x="0" y="0"/>
                    </a:lnTo>
                    <a:lnTo>
                      <a:pt x="248952" y="0"/>
                    </a:lnTo>
                    <a:lnTo>
                      <a:pt x="248952" y="51847"/>
                    </a:lnTo>
                    <a:lnTo>
                      <a:pt x="155101" y="51847"/>
                    </a:lnTo>
                    <a:lnTo>
                      <a:pt x="155101" y="312838"/>
                    </a:lnTo>
                    <a:lnTo>
                      <a:pt x="94291" y="312838"/>
                    </a:lnTo>
                    <a:lnTo>
                      <a:pt x="94291" y="51847"/>
                    </a:lnTo>
                    <a:close/>
                  </a:path>
                </a:pathLst>
              </a:custGeom>
              <a:solidFill>
                <a:srgbClr val="022E33"/>
              </a:solidFill>
              <a:ln w="8786" cap="flat">
                <a:noFill/>
                <a:prstDash val="solid"/>
                <a:miter/>
              </a:ln>
            </p:spPr>
            <p:txBody>
              <a:bodyPr rtlCol="0" anchor="ctr"/>
              <a:lstStyle/>
              <a:p>
                <a:endParaRPr lang="en-US"/>
              </a:p>
            </p:txBody>
          </p:sp>
          <p:sp>
            <p:nvSpPr>
              <p:cNvPr id="50" name="Freeform: Shape 13">
                <a:extLst>
                  <a:ext uri="{FF2B5EF4-FFF2-40B4-BE49-F238E27FC236}">
                    <a16:creationId xmlns:a16="http://schemas.microsoft.com/office/drawing/2014/main" id="{0FE1627B-CF55-9DAE-84D8-FC082B4298B9}"/>
                  </a:ext>
                </a:extLst>
              </p:cNvPr>
              <p:cNvSpPr/>
              <p:nvPr/>
            </p:nvSpPr>
            <p:spPr>
              <a:xfrm>
                <a:off x="5557672" y="2739086"/>
                <a:ext cx="214153" cy="312925"/>
              </a:xfrm>
              <a:custGeom>
                <a:avLst/>
                <a:gdLst>
                  <a:gd name="connsiteX0" fmla="*/ 82779 w 214153"/>
                  <a:gd name="connsiteY0" fmla="*/ 88 h 312925"/>
                  <a:gd name="connsiteX1" fmla="*/ 214153 w 214153"/>
                  <a:gd name="connsiteY1" fmla="*/ 88 h 312925"/>
                  <a:gd name="connsiteX2" fmla="*/ 214153 w 214153"/>
                  <a:gd name="connsiteY2" fmla="*/ 51935 h 312925"/>
                  <a:gd name="connsiteX3" fmla="*/ 88403 w 214153"/>
                  <a:gd name="connsiteY3" fmla="*/ 51935 h 312925"/>
                  <a:gd name="connsiteX4" fmla="*/ 60810 w 214153"/>
                  <a:gd name="connsiteY4" fmla="*/ 79528 h 312925"/>
                  <a:gd name="connsiteX5" fmla="*/ 60810 w 214153"/>
                  <a:gd name="connsiteY5" fmla="*/ 130583 h 312925"/>
                  <a:gd name="connsiteX6" fmla="*/ 214153 w 214153"/>
                  <a:gd name="connsiteY6" fmla="*/ 130583 h 312925"/>
                  <a:gd name="connsiteX7" fmla="*/ 214153 w 214153"/>
                  <a:gd name="connsiteY7" fmla="*/ 182430 h 312925"/>
                  <a:gd name="connsiteX8" fmla="*/ 60810 w 214153"/>
                  <a:gd name="connsiteY8" fmla="*/ 182430 h 312925"/>
                  <a:gd name="connsiteX9" fmla="*/ 60810 w 214153"/>
                  <a:gd name="connsiteY9" fmla="*/ 233486 h 312925"/>
                  <a:gd name="connsiteX10" fmla="*/ 88403 w 214153"/>
                  <a:gd name="connsiteY10" fmla="*/ 261079 h 312925"/>
                  <a:gd name="connsiteX11" fmla="*/ 214153 w 214153"/>
                  <a:gd name="connsiteY11" fmla="*/ 261079 h 312925"/>
                  <a:gd name="connsiteX12" fmla="*/ 214153 w 214153"/>
                  <a:gd name="connsiteY12" fmla="*/ 312926 h 312925"/>
                  <a:gd name="connsiteX13" fmla="*/ 82779 w 214153"/>
                  <a:gd name="connsiteY13" fmla="*/ 312926 h 312925"/>
                  <a:gd name="connsiteX14" fmla="*/ 0 w 214153"/>
                  <a:gd name="connsiteY14" fmla="*/ 230147 h 312925"/>
                  <a:gd name="connsiteX15" fmla="*/ 0 w 214153"/>
                  <a:gd name="connsiteY15" fmla="*/ 82779 h 312925"/>
                  <a:gd name="connsiteX16" fmla="*/ 82779 w 214153"/>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153" h="312925">
                    <a:moveTo>
                      <a:pt x="82779" y="88"/>
                    </a:moveTo>
                    <a:lnTo>
                      <a:pt x="214153" y="88"/>
                    </a:lnTo>
                    <a:lnTo>
                      <a:pt x="214153" y="51935"/>
                    </a:lnTo>
                    <a:lnTo>
                      <a:pt x="88403" y="51935"/>
                    </a:lnTo>
                    <a:cubicBezTo>
                      <a:pt x="73201" y="51935"/>
                      <a:pt x="60810" y="64325"/>
                      <a:pt x="60810" y="79528"/>
                    </a:cubicBezTo>
                    <a:lnTo>
                      <a:pt x="60810" y="130583"/>
                    </a:lnTo>
                    <a:lnTo>
                      <a:pt x="214153" y="130583"/>
                    </a:lnTo>
                    <a:lnTo>
                      <a:pt x="214153" y="182430"/>
                    </a:lnTo>
                    <a:lnTo>
                      <a:pt x="60810" y="182430"/>
                    </a:lnTo>
                    <a:lnTo>
                      <a:pt x="60810" y="233486"/>
                    </a:lnTo>
                    <a:cubicBezTo>
                      <a:pt x="60810" y="248689"/>
                      <a:pt x="73201" y="261079"/>
                      <a:pt x="88403" y="261079"/>
                    </a:cubicBezTo>
                    <a:lnTo>
                      <a:pt x="214153" y="261079"/>
                    </a:lnTo>
                    <a:lnTo>
                      <a:pt x="214153" y="312926"/>
                    </a:lnTo>
                    <a:lnTo>
                      <a:pt x="82779" y="312926"/>
                    </a:lnTo>
                    <a:cubicBezTo>
                      <a:pt x="37084" y="312926"/>
                      <a:pt x="0" y="275842"/>
                      <a:pt x="0" y="230147"/>
                    </a:cubicBezTo>
                    <a:lnTo>
                      <a:pt x="0" y="82779"/>
                    </a:lnTo>
                    <a:cubicBezTo>
                      <a:pt x="0" y="37084"/>
                      <a:pt x="37084" y="0"/>
                      <a:pt x="82779" y="0"/>
                    </a:cubicBezTo>
                    <a:close/>
                  </a:path>
                </a:pathLst>
              </a:custGeom>
              <a:solidFill>
                <a:srgbClr val="022E33"/>
              </a:solidFill>
              <a:ln w="8786" cap="flat">
                <a:noFill/>
                <a:prstDash val="solid"/>
                <a:miter/>
              </a:ln>
            </p:spPr>
            <p:txBody>
              <a:bodyPr rtlCol="0" anchor="ctr"/>
              <a:lstStyle/>
              <a:p>
                <a:endParaRPr lang="en-US"/>
              </a:p>
            </p:txBody>
          </p:sp>
          <p:sp>
            <p:nvSpPr>
              <p:cNvPr id="51" name="Freeform: Shape 14">
                <a:extLst>
                  <a:ext uri="{FF2B5EF4-FFF2-40B4-BE49-F238E27FC236}">
                    <a16:creationId xmlns:a16="http://schemas.microsoft.com/office/drawing/2014/main" id="{6A025B30-54B0-668D-6030-836D4770EF40}"/>
                  </a:ext>
                </a:extLst>
              </p:cNvPr>
              <p:cNvSpPr/>
              <p:nvPr/>
            </p:nvSpPr>
            <p:spPr>
              <a:xfrm>
                <a:off x="5824287" y="2739174"/>
                <a:ext cx="207914" cy="312925"/>
              </a:xfrm>
              <a:custGeom>
                <a:avLst/>
                <a:gdLst>
                  <a:gd name="connsiteX0" fmla="*/ 0 w 207914"/>
                  <a:gd name="connsiteY0" fmla="*/ 0 h 312925"/>
                  <a:gd name="connsiteX1" fmla="*/ 60810 w 207914"/>
                  <a:gd name="connsiteY1" fmla="*/ 0 h 312925"/>
                  <a:gd name="connsiteX2" fmla="*/ 60810 w 207914"/>
                  <a:gd name="connsiteY2" fmla="*/ 233486 h 312925"/>
                  <a:gd name="connsiteX3" fmla="*/ 88403 w 207914"/>
                  <a:gd name="connsiteY3" fmla="*/ 261079 h 312925"/>
                  <a:gd name="connsiteX4" fmla="*/ 207914 w 207914"/>
                  <a:gd name="connsiteY4" fmla="*/ 261079 h 312925"/>
                  <a:gd name="connsiteX5" fmla="*/ 207914 w 207914"/>
                  <a:gd name="connsiteY5" fmla="*/ 312926 h 312925"/>
                  <a:gd name="connsiteX6" fmla="*/ 82867 w 207914"/>
                  <a:gd name="connsiteY6" fmla="*/ 312926 h 312925"/>
                  <a:gd name="connsiteX7" fmla="*/ 88 w 207914"/>
                  <a:gd name="connsiteY7" fmla="*/ 230147 h 312925"/>
                  <a:gd name="connsiteX8" fmla="*/ 88 w 207914"/>
                  <a:gd name="connsiteY8"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914" h="312925">
                    <a:moveTo>
                      <a:pt x="0" y="0"/>
                    </a:moveTo>
                    <a:lnTo>
                      <a:pt x="60810" y="0"/>
                    </a:lnTo>
                    <a:lnTo>
                      <a:pt x="60810" y="233486"/>
                    </a:lnTo>
                    <a:cubicBezTo>
                      <a:pt x="60810" y="248689"/>
                      <a:pt x="73201" y="261079"/>
                      <a:pt x="88403" y="261079"/>
                    </a:cubicBezTo>
                    <a:lnTo>
                      <a:pt x="207914" y="261079"/>
                    </a:lnTo>
                    <a:lnTo>
                      <a:pt x="207914" y="312926"/>
                    </a:lnTo>
                    <a:lnTo>
                      <a:pt x="82867" y="312926"/>
                    </a:lnTo>
                    <a:cubicBezTo>
                      <a:pt x="37172" y="312926"/>
                      <a:pt x="88" y="275842"/>
                      <a:pt x="88" y="230147"/>
                    </a:cubicBezTo>
                    <a:lnTo>
                      <a:pt x="88" y="0"/>
                    </a:lnTo>
                    <a:close/>
                  </a:path>
                </a:pathLst>
              </a:custGeom>
              <a:solidFill>
                <a:srgbClr val="022E33"/>
              </a:solidFill>
              <a:ln w="8786" cap="flat">
                <a:noFill/>
                <a:prstDash val="solid"/>
                <a:miter/>
              </a:ln>
            </p:spPr>
            <p:txBody>
              <a:bodyPr rtlCol="0" anchor="ctr"/>
              <a:lstStyle/>
              <a:p>
                <a:endParaRPr lang="en-US"/>
              </a:p>
            </p:txBody>
          </p:sp>
          <p:sp>
            <p:nvSpPr>
              <p:cNvPr id="52" name="Freeform: Shape 15">
                <a:extLst>
                  <a:ext uri="{FF2B5EF4-FFF2-40B4-BE49-F238E27FC236}">
                    <a16:creationId xmlns:a16="http://schemas.microsoft.com/office/drawing/2014/main" id="{DFFD6B4A-FE26-ECB9-7C39-52E97F688E9E}"/>
                  </a:ext>
                </a:extLst>
              </p:cNvPr>
              <p:cNvSpPr/>
              <p:nvPr/>
            </p:nvSpPr>
            <p:spPr>
              <a:xfrm>
                <a:off x="4957744" y="2739174"/>
                <a:ext cx="261518" cy="312925"/>
              </a:xfrm>
              <a:custGeom>
                <a:avLst/>
                <a:gdLst>
                  <a:gd name="connsiteX0" fmla="*/ 261518 w 261518"/>
                  <a:gd name="connsiteY0" fmla="*/ 82779 h 312925"/>
                  <a:gd name="connsiteX1" fmla="*/ 261518 w 261518"/>
                  <a:gd name="connsiteY1" fmla="*/ 312926 h 312925"/>
                  <a:gd name="connsiteX2" fmla="*/ 200708 w 261518"/>
                  <a:gd name="connsiteY2" fmla="*/ 312926 h 312925"/>
                  <a:gd name="connsiteX3" fmla="*/ 200708 w 261518"/>
                  <a:gd name="connsiteY3" fmla="*/ 79440 h 312925"/>
                  <a:gd name="connsiteX4" fmla="*/ 173115 w 261518"/>
                  <a:gd name="connsiteY4" fmla="*/ 51847 h 312925"/>
                  <a:gd name="connsiteX5" fmla="*/ 60810 w 261518"/>
                  <a:gd name="connsiteY5" fmla="*/ 51847 h 312925"/>
                  <a:gd name="connsiteX6" fmla="*/ 60810 w 261518"/>
                  <a:gd name="connsiteY6" fmla="*/ 312838 h 312925"/>
                  <a:gd name="connsiteX7" fmla="*/ 0 w 261518"/>
                  <a:gd name="connsiteY7" fmla="*/ 312838 h 312925"/>
                  <a:gd name="connsiteX8" fmla="*/ 0 w 261518"/>
                  <a:gd name="connsiteY8" fmla="*/ 0 h 312925"/>
                  <a:gd name="connsiteX9" fmla="*/ 178739 w 261518"/>
                  <a:gd name="connsiteY9" fmla="*/ 0 h 312925"/>
                  <a:gd name="connsiteX10" fmla="*/ 261518 w 261518"/>
                  <a:gd name="connsiteY10" fmla="*/ 82779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518" h="312925">
                    <a:moveTo>
                      <a:pt x="261518" y="82779"/>
                    </a:moveTo>
                    <a:lnTo>
                      <a:pt x="261518" y="312926"/>
                    </a:lnTo>
                    <a:lnTo>
                      <a:pt x="200708" y="312926"/>
                    </a:lnTo>
                    <a:lnTo>
                      <a:pt x="200708" y="79440"/>
                    </a:lnTo>
                    <a:cubicBezTo>
                      <a:pt x="200708" y="64237"/>
                      <a:pt x="188318" y="51847"/>
                      <a:pt x="173115" y="51847"/>
                    </a:cubicBezTo>
                    <a:lnTo>
                      <a:pt x="60810" y="51847"/>
                    </a:lnTo>
                    <a:lnTo>
                      <a:pt x="60810" y="312838"/>
                    </a:lnTo>
                    <a:lnTo>
                      <a:pt x="0" y="312838"/>
                    </a:lnTo>
                    <a:lnTo>
                      <a:pt x="0" y="0"/>
                    </a:lnTo>
                    <a:lnTo>
                      <a:pt x="178739" y="0"/>
                    </a:lnTo>
                    <a:cubicBezTo>
                      <a:pt x="224435" y="0"/>
                      <a:pt x="261518" y="37084"/>
                      <a:pt x="261518" y="82779"/>
                    </a:cubicBezTo>
                    <a:close/>
                  </a:path>
                </a:pathLst>
              </a:custGeom>
              <a:solidFill>
                <a:srgbClr val="022E33"/>
              </a:solidFill>
              <a:ln w="8786" cap="flat">
                <a:noFill/>
                <a:prstDash val="solid"/>
                <a:miter/>
              </a:ln>
            </p:spPr>
            <p:txBody>
              <a:bodyPr rtlCol="0" anchor="ctr"/>
              <a:lstStyle/>
              <a:p>
                <a:endParaRPr lang="en-US"/>
              </a:p>
            </p:txBody>
          </p:sp>
          <p:sp>
            <p:nvSpPr>
              <p:cNvPr id="53" name="Freeform: Shape 16">
                <a:extLst>
                  <a:ext uri="{FF2B5EF4-FFF2-40B4-BE49-F238E27FC236}">
                    <a16:creationId xmlns:a16="http://schemas.microsoft.com/office/drawing/2014/main" id="{9BFC74D3-CB24-7BF9-4927-07DCD6EAD89E}"/>
                  </a:ext>
                </a:extLst>
              </p:cNvPr>
              <p:cNvSpPr/>
              <p:nvPr/>
            </p:nvSpPr>
            <p:spPr>
              <a:xfrm>
                <a:off x="4163698" y="2739174"/>
                <a:ext cx="379096" cy="312925"/>
              </a:xfrm>
              <a:custGeom>
                <a:avLst/>
                <a:gdLst>
                  <a:gd name="connsiteX0" fmla="*/ 296317 w 379096"/>
                  <a:gd name="connsiteY0" fmla="*/ 0 h 312925"/>
                  <a:gd name="connsiteX1" fmla="*/ 379096 w 379096"/>
                  <a:gd name="connsiteY1" fmla="*/ 82779 h 312925"/>
                  <a:gd name="connsiteX2" fmla="*/ 379096 w 379096"/>
                  <a:gd name="connsiteY2" fmla="*/ 312926 h 312925"/>
                  <a:gd name="connsiteX3" fmla="*/ 318286 w 379096"/>
                  <a:gd name="connsiteY3" fmla="*/ 312926 h 312925"/>
                  <a:gd name="connsiteX4" fmla="*/ 318286 w 379096"/>
                  <a:gd name="connsiteY4" fmla="*/ 79440 h 312925"/>
                  <a:gd name="connsiteX5" fmla="*/ 290693 w 379096"/>
                  <a:gd name="connsiteY5" fmla="*/ 51847 h 312925"/>
                  <a:gd name="connsiteX6" fmla="*/ 219953 w 379096"/>
                  <a:gd name="connsiteY6" fmla="*/ 51847 h 312925"/>
                  <a:gd name="connsiteX7" fmla="*/ 219953 w 379096"/>
                  <a:gd name="connsiteY7" fmla="*/ 312838 h 312925"/>
                  <a:gd name="connsiteX8" fmla="*/ 159143 w 379096"/>
                  <a:gd name="connsiteY8" fmla="*/ 312838 h 312925"/>
                  <a:gd name="connsiteX9" fmla="*/ 159143 w 379096"/>
                  <a:gd name="connsiteY9" fmla="*/ 51847 h 312925"/>
                  <a:gd name="connsiteX10" fmla="*/ 88403 w 379096"/>
                  <a:gd name="connsiteY10" fmla="*/ 51847 h 312925"/>
                  <a:gd name="connsiteX11" fmla="*/ 60810 w 379096"/>
                  <a:gd name="connsiteY11" fmla="*/ 79440 h 312925"/>
                  <a:gd name="connsiteX12" fmla="*/ 60810 w 379096"/>
                  <a:gd name="connsiteY12" fmla="*/ 312926 h 312925"/>
                  <a:gd name="connsiteX13" fmla="*/ 0 w 379096"/>
                  <a:gd name="connsiteY13" fmla="*/ 312926 h 312925"/>
                  <a:gd name="connsiteX14" fmla="*/ 0 w 379096"/>
                  <a:gd name="connsiteY14" fmla="*/ 82779 h 312925"/>
                  <a:gd name="connsiteX15" fmla="*/ 82779 w 379096"/>
                  <a:gd name="connsiteY15" fmla="*/ 0 h 312925"/>
                  <a:gd name="connsiteX16" fmla="*/ 296317 w 379096"/>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9096" h="312925">
                    <a:moveTo>
                      <a:pt x="296317" y="0"/>
                    </a:moveTo>
                    <a:cubicBezTo>
                      <a:pt x="342013" y="0"/>
                      <a:pt x="379096" y="37084"/>
                      <a:pt x="379096" y="82779"/>
                    </a:cubicBezTo>
                    <a:lnTo>
                      <a:pt x="379096" y="312926"/>
                    </a:lnTo>
                    <a:lnTo>
                      <a:pt x="318286" y="312926"/>
                    </a:lnTo>
                    <a:lnTo>
                      <a:pt x="318286" y="79440"/>
                    </a:lnTo>
                    <a:cubicBezTo>
                      <a:pt x="318286" y="64237"/>
                      <a:pt x="305896" y="51847"/>
                      <a:pt x="290693" y="51847"/>
                    </a:cubicBezTo>
                    <a:lnTo>
                      <a:pt x="219953" y="51847"/>
                    </a:lnTo>
                    <a:lnTo>
                      <a:pt x="219953" y="312838"/>
                    </a:lnTo>
                    <a:lnTo>
                      <a:pt x="159143" y="312838"/>
                    </a:lnTo>
                    <a:lnTo>
                      <a:pt x="159143" y="51847"/>
                    </a:lnTo>
                    <a:lnTo>
                      <a:pt x="88403" y="51847"/>
                    </a:lnTo>
                    <a:cubicBezTo>
                      <a:pt x="73201" y="51847"/>
                      <a:pt x="60810" y="64237"/>
                      <a:pt x="60810" y="79440"/>
                    </a:cubicBezTo>
                    <a:lnTo>
                      <a:pt x="60810" y="312926"/>
                    </a:lnTo>
                    <a:lnTo>
                      <a:pt x="0" y="312926"/>
                    </a:lnTo>
                    <a:lnTo>
                      <a:pt x="0" y="82779"/>
                    </a:lnTo>
                    <a:cubicBezTo>
                      <a:pt x="0" y="37084"/>
                      <a:pt x="37084" y="0"/>
                      <a:pt x="82779" y="0"/>
                    </a:cubicBezTo>
                    <a:lnTo>
                      <a:pt x="296317" y="0"/>
                    </a:lnTo>
                    <a:close/>
                  </a:path>
                </a:pathLst>
              </a:custGeom>
              <a:solidFill>
                <a:srgbClr val="022E33"/>
              </a:solidFill>
              <a:ln w="8786" cap="flat">
                <a:noFill/>
                <a:prstDash val="solid"/>
                <a:miter/>
              </a:ln>
            </p:spPr>
            <p:txBody>
              <a:bodyPr rtlCol="0" anchor="ctr"/>
              <a:lstStyle/>
              <a:p>
                <a:endParaRPr lang="en-US"/>
              </a:p>
            </p:txBody>
          </p:sp>
          <p:sp>
            <p:nvSpPr>
              <p:cNvPr id="54" name="Freeform: Shape 17">
                <a:extLst>
                  <a:ext uri="{FF2B5EF4-FFF2-40B4-BE49-F238E27FC236}">
                    <a16:creationId xmlns:a16="http://schemas.microsoft.com/office/drawing/2014/main" id="{2529D964-BAAC-0E0D-04C5-8E72325D74C9}"/>
                  </a:ext>
                </a:extLst>
              </p:cNvPr>
              <p:cNvSpPr/>
              <p:nvPr/>
            </p:nvSpPr>
            <p:spPr>
              <a:xfrm>
                <a:off x="4590423" y="2735659"/>
                <a:ext cx="320043" cy="320043"/>
              </a:xfrm>
              <a:custGeom>
                <a:avLst/>
                <a:gdLst>
                  <a:gd name="connsiteX0" fmla="*/ 160022 w 320043"/>
                  <a:gd name="connsiteY0" fmla="*/ 58877 h 320043"/>
                  <a:gd name="connsiteX1" fmla="*/ 261167 w 320043"/>
                  <a:gd name="connsiteY1" fmla="*/ 160022 h 320043"/>
                  <a:gd name="connsiteX2" fmla="*/ 160022 w 320043"/>
                  <a:gd name="connsiteY2" fmla="*/ 261167 h 320043"/>
                  <a:gd name="connsiteX3" fmla="*/ 58877 w 320043"/>
                  <a:gd name="connsiteY3" fmla="*/ 160022 h 320043"/>
                  <a:gd name="connsiteX4" fmla="*/ 160022 w 320043"/>
                  <a:gd name="connsiteY4" fmla="*/ 58877 h 320043"/>
                  <a:gd name="connsiteX5" fmla="*/ 160022 w 320043"/>
                  <a:gd name="connsiteY5" fmla="*/ 0 h 320043"/>
                  <a:gd name="connsiteX6" fmla="*/ 0 w 320043"/>
                  <a:gd name="connsiteY6" fmla="*/ 160022 h 320043"/>
                  <a:gd name="connsiteX7" fmla="*/ 160022 w 320043"/>
                  <a:gd name="connsiteY7" fmla="*/ 320044 h 320043"/>
                  <a:gd name="connsiteX8" fmla="*/ 320044 w 320043"/>
                  <a:gd name="connsiteY8" fmla="*/ 160022 h 320043"/>
                  <a:gd name="connsiteX9" fmla="*/ 160022 w 320043"/>
                  <a:gd name="connsiteY9" fmla="*/ 0 h 320043"/>
                  <a:gd name="connsiteX10" fmla="*/ 160022 w 320043"/>
                  <a:gd name="connsiteY10" fmla="*/ 0 h 32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043" h="320043">
                    <a:moveTo>
                      <a:pt x="160022" y="58877"/>
                    </a:moveTo>
                    <a:cubicBezTo>
                      <a:pt x="215823" y="58877"/>
                      <a:pt x="261167" y="104221"/>
                      <a:pt x="261167" y="160022"/>
                    </a:cubicBezTo>
                    <a:cubicBezTo>
                      <a:pt x="261167" y="215823"/>
                      <a:pt x="215823" y="261167"/>
                      <a:pt x="160022" y="261167"/>
                    </a:cubicBezTo>
                    <a:cubicBezTo>
                      <a:pt x="104221" y="261167"/>
                      <a:pt x="58877" y="215823"/>
                      <a:pt x="58877" y="160022"/>
                    </a:cubicBezTo>
                    <a:cubicBezTo>
                      <a:pt x="58877" y="104221"/>
                      <a:pt x="104221" y="58877"/>
                      <a:pt x="160022" y="58877"/>
                    </a:cubicBezTo>
                    <a:moveTo>
                      <a:pt x="160022" y="0"/>
                    </a:moveTo>
                    <a:cubicBezTo>
                      <a:pt x="71619" y="0"/>
                      <a:pt x="0" y="71619"/>
                      <a:pt x="0" y="160022"/>
                    </a:cubicBezTo>
                    <a:cubicBezTo>
                      <a:pt x="0" y="248425"/>
                      <a:pt x="71619" y="320044"/>
                      <a:pt x="160022" y="320044"/>
                    </a:cubicBezTo>
                    <a:cubicBezTo>
                      <a:pt x="248425" y="320044"/>
                      <a:pt x="320044" y="248425"/>
                      <a:pt x="320044" y="160022"/>
                    </a:cubicBezTo>
                    <a:cubicBezTo>
                      <a:pt x="320044" y="71619"/>
                      <a:pt x="248425" y="0"/>
                      <a:pt x="160022" y="0"/>
                    </a:cubicBezTo>
                    <a:lnTo>
                      <a:pt x="160022" y="0"/>
                    </a:lnTo>
                    <a:close/>
                  </a:path>
                </a:pathLst>
              </a:custGeom>
              <a:solidFill>
                <a:srgbClr val="022E33"/>
              </a:solidFill>
              <a:ln w="8786" cap="flat">
                <a:noFill/>
                <a:prstDash val="solid"/>
                <a:miter/>
              </a:ln>
            </p:spPr>
            <p:txBody>
              <a:bodyPr rtlCol="0" anchor="ctr"/>
              <a:lstStyle/>
              <a:p>
                <a:endParaRPr lang="en-US"/>
              </a:p>
            </p:txBody>
          </p:sp>
        </p:grpSp>
        <p:grpSp>
          <p:nvGrpSpPr>
            <p:cNvPr id="37" name="Graphic 3">
              <a:extLst>
                <a:ext uri="{FF2B5EF4-FFF2-40B4-BE49-F238E27FC236}">
                  <a16:creationId xmlns:a16="http://schemas.microsoft.com/office/drawing/2014/main" id="{094A31DC-6FA0-C3A0-1CA0-0A0D548086CD}"/>
                </a:ext>
              </a:extLst>
            </p:cNvPr>
            <p:cNvGrpSpPr/>
            <p:nvPr/>
          </p:nvGrpSpPr>
          <p:grpSpPr>
            <a:xfrm>
              <a:off x="4163698" y="3206410"/>
              <a:ext cx="6291898" cy="1054861"/>
              <a:chOff x="4163698" y="3206410"/>
              <a:chExt cx="6291898" cy="1054861"/>
            </a:xfrm>
            <a:solidFill>
              <a:srgbClr val="022E33"/>
            </a:solidFill>
          </p:grpSpPr>
          <p:sp>
            <p:nvSpPr>
              <p:cNvPr id="38" name="Freeform: Shape 19">
                <a:extLst>
                  <a:ext uri="{FF2B5EF4-FFF2-40B4-BE49-F238E27FC236}">
                    <a16:creationId xmlns:a16="http://schemas.microsoft.com/office/drawing/2014/main" id="{20BA13C6-65EB-305A-14FD-7B48335EE02B}"/>
                  </a:ext>
                </a:extLst>
              </p:cNvPr>
              <p:cNvSpPr/>
              <p:nvPr/>
            </p:nvSpPr>
            <p:spPr>
              <a:xfrm>
                <a:off x="4163698" y="3215812"/>
                <a:ext cx="848616" cy="829635"/>
              </a:xfrm>
              <a:custGeom>
                <a:avLst/>
                <a:gdLst>
                  <a:gd name="connsiteX0" fmla="*/ 0 w 848616"/>
                  <a:gd name="connsiteY0" fmla="*/ 88 h 829635"/>
                  <a:gd name="connsiteX1" fmla="*/ 118545 w 848616"/>
                  <a:gd name="connsiteY1" fmla="*/ 88 h 829635"/>
                  <a:gd name="connsiteX2" fmla="*/ 360291 w 848616"/>
                  <a:gd name="connsiteY2" fmla="*/ 573741 h 829635"/>
                  <a:gd name="connsiteX3" fmla="*/ 425495 w 848616"/>
                  <a:gd name="connsiteY3" fmla="*/ 762147 h 829635"/>
                  <a:gd name="connsiteX4" fmla="*/ 485953 w 848616"/>
                  <a:gd name="connsiteY4" fmla="*/ 583144 h 829635"/>
                  <a:gd name="connsiteX5" fmla="*/ 732445 w 848616"/>
                  <a:gd name="connsiteY5" fmla="*/ 0 h 829635"/>
                  <a:gd name="connsiteX6" fmla="*/ 848617 w 848616"/>
                  <a:gd name="connsiteY6" fmla="*/ 0 h 829635"/>
                  <a:gd name="connsiteX7" fmla="*/ 848617 w 848616"/>
                  <a:gd name="connsiteY7" fmla="*/ 829636 h 829635"/>
                  <a:gd name="connsiteX8" fmla="*/ 768035 w 848616"/>
                  <a:gd name="connsiteY8" fmla="*/ 829636 h 829635"/>
                  <a:gd name="connsiteX9" fmla="*/ 768035 w 848616"/>
                  <a:gd name="connsiteY9" fmla="*/ 271448 h 829635"/>
                  <a:gd name="connsiteX10" fmla="*/ 775153 w 848616"/>
                  <a:gd name="connsiteY10" fmla="*/ 69949 h 829635"/>
                  <a:gd name="connsiteX11" fmla="*/ 707576 w 848616"/>
                  <a:gd name="connsiteY11" fmla="*/ 250095 h 829635"/>
                  <a:gd name="connsiteX12" fmla="*/ 463457 w 848616"/>
                  <a:gd name="connsiteY12" fmla="*/ 829636 h 829635"/>
                  <a:gd name="connsiteX13" fmla="*/ 386390 w 848616"/>
                  <a:gd name="connsiteY13" fmla="*/ 829636 h 829635"/>
                  <a:gd name="connsiteX14" fmla="*/ 144644 w 848616"/>
                  <a:gd name="connsiteY14" fmla="*/ 258355 h 829635"/>
                  <a:gd name="connsiteX15" fmla="*/ 72322 w 848616"/>
                  <a:gd name="connsiteY15" fmla="*/ 71092 h 829635"/>
                  <a:gd name="connsiteX16" fmla="*/ 79440 w 848616"/>
                  <a:gd name="connsiteY16" fmla="*/ 263100 h 829635"/>
                  <a:gd name="connsiteX17" fmla="*/ 79440 w 848616"/>
                  <a:gd name="connsiteY17" fmla="*/ 829636 h 829635"/>
                  <a:gd name="connsiteX18" fmla="*/ 0 w 848616"/>
                  <a:gd name="connsiteY18" fmla="*/ 829636 h 829635"/>
                  <a:gd name="connsiteX19" fmla="*/ 0 w 848616"/>
                  <a:gd name="connsiteY19" fmla="*/ 88 h 82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8616" h="829635">
                    <a:moveTo>
                      <a:pt x="0" y="88"/>
                    </a:moveTo>
                    <a:lnTo>
                      <a:pt x="118545" y="88"/>
                    </a:lnTo>
                    <a:lnTo>
                      <a:pt x="360291" y="573741"/>
                    </a:lnTo>
                    <a:cubicBezTo>
                      <a:pt x="410029" y="689913"/>
                      <a:pt x="425495" y="762147"/>
                      <a:pt x="425495" y="762147"/>
                    </a:cubicBezTo>
                    <a:cubicBezTo>
                      <a:pt x="425495" y="762147"/>
                      <a:pt x="440873" y="689825"/>
                      <a:pt x="485953" y="583144"/>
                    </a:cubicBezTo>
                    <a:lnTo>
                      <a:pt x="732445" y="0"/>
                    </a:lnTo>
                    <a:lnTo>
                      <a:pt x="848617" y="0"/>
                    </a:lnTo>
                    <a:lnTo>
                      <a:pt x="848617" y="829636"/>
                    </a:lnTo>
                    <a:lnTo>
                      <a:pt x="768035" y="829636"/>
                    </a:lnTo>
                    <a:lnTo>
                      <a:pt x="768035" y="271448"/>
                    </a:lnTo>
                    <a:cubicBezTo>
                      <a:pt x="768035" y="144644"/>
                      <a:pt x="775153" y="69949"/>
                      <a:pt x="775153" y="69949"/>
                    </a:cubicBezTo>
                    <a:cubicBezTo>
                      <a:pt x="775153" y="69949"/>
                      <a:pt x="752657" y="142271"/>
                      <a:pt x="707576" y="250095"/>
                    </a:cubicBezTo>
                    <a:lnTo>
                      <a:pt x="463457" y="829636"/>
                    </a:lnTo>
                    <a:lnTo>
                      <a:pt x="386390" y="829636"/>
                    </a:lnTo>
                    <a:lnTo>
                      <a:pt x="144644" y="258355"/>
                    </a:lnTo>
                    <a:cubicBezTo>
                      <a:pt x="94906" y="143413"/>
                      <a:pt x="72322" y="71092"/>
                      <a:pt x="72322" y="71092"/>
                    </a:cubicBezTo>
                    <a:cubicBezTo>
                      <a:pt x="72322" y="71092"/>
                      <a:pt x="79440" y="145786"/>
                      <a:pt x="79440" y="263100"/>
                    </a:cubicBezTo>
                    <a:lnTo>
                      <a:pt x="79440" y="829636"/>
                    </a:lnTo>
                    <a:lnTo>
                      <a:pt x="0" y="829636"/>
                    </a:lnTo>
                    <a:lnTo>
                      <a:pt x="0" y="88"/>
                    </a:lnTo>
                    <a:close/>
                  </a:path>
                </a:pathLst>
              </a:custGeom>
              <a:solidFill>
                <a:srgbClr val="022E33"/>
              </a:solidFill>
              <a:ln w="8786" cap="flat">
                <a:noFill/>
                <a:prstDash val="solid"/>
                <a:miter/>
              </a:ln>
            </p:spPr>
            <p:txBody>
              <a:bodyPr rtlCol="0" anchor="ctr"/>
              <a:lstStyle/>
              <a:p>
                <a:endParaRPr lang="en-US"/>
              </a:p>
            </p:txBody>
          </p:sp>
          <p:sp>
            <p:nvSpPr>
              <p:cNvPr id="39" name="Freeform: Shape 20">
                <a:extLst>
                  <a:ext uri="{FF2B5EF4-FFF2-40B4-BE49-F238E27FC236}">
                    <a16:creationId xmlns:a16="http://schemas.microsoft.com/office/drawing/2014/main" id="{D1C99EE7-45C9-478A-AE7B-B380D6889929}"/>
                  </a:ext>
                </a:extLst>
              </p:cNvPr>
              <p:cNvSpPr/>
              <p:nvPr/>
            </p:nvSpPr>
            <p:spPr>
              <a:xfrm>
                <a:off x="5148435"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1 w 488325"/>
                  <a:gd name="connsiteY10" fmla="*/ 606871 h 616361"/>
                  <a:gd name="connsiteX11" fmla="*/ 413631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1" y="93588"/>
                      <a:pt x="111514" y="0"/>
                      <a:pt x="251325" y="0"/>
                    </a:cubicBezTo>
                    <a:cubicBezTo>
                      <a:pt x="391135" y="0"/>
                      <a:pt x="488326" y="84185"/>
                      <a:pt x="488326" y="215735"/>
                    </a:cubicBezTo>
                    <a:lnTo>
                      <a:pt x="488326" y="606871"/>
                    </a:lnTo>
                    <a:lnTo>
                      <a:pt x="413631" y="606871"/>
                    </a:lnTo>
                    <a:lnTo>
                      <a:pt x="413631" y="483581"/>
                    </a:lnTo>
                    <a:cubicBezTo>
                      <a:pt x="392277" y="558275"/>
                      <a:pt x="304577" y="616361"/>
                      <a:pt x="206245" y="616361"/>
                    </a:cubicBezTo>
                    <a:cubicBezTo>
                      <a:pt x="79440" y="616361"/>
                      <a:pt x="0" y="551157"/>
                      <a:pt x="0" y="449221"/>
                    </a:cubicBezTo>
                    <a:close/>
                    <a:moveTo>
                      <a:pt x="211166" y="549927"/>
                    </a:moveTo>
                    <a:cubicBezTo>
                      <a:pt x="332082" y="549927"/>
                      <a:pt x="413807" y="458712"/>
                      <a:pt x="413807" y="327162"/>
                    </a:cubicBezTo>
                    <a:lnTo>
                      <a:pt x="413807" y="296317"/>
                    </a:lnTo>
                    <a:lnTo>
                      <a:pt x="283399" y="310553"/>
                    </a:lnTo>
                    <a:cubicBezTo>
                      <a:pt x="137613"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0" name="Freeform: Shape 21">
                <a:extLst>
                  <a:ext uri="{FF2B5EF4-FFF2-40B4-BE49-F238E27FC236}">
                    <a16:creationId xmlns:a16="http://schemas.microsoft.com/office/drawing/2014/main" id="{2CF7D10D-7D08-8A83-4705-FA9AE6670133}"/>
                  </a:ext>
                </a:extLst>
              </p:cNvPr>
              <p:cNvSpPr/>
              <p:nvPr/>
            </p:nvSpPr>
            <p:spPr>
              <a:xfrm>
                <a:off x="5792125" y="3438753"/>
                <a:ext cx="336652" cy="606782"/>
              </a:xfrm>
              <a:custGeom>
                <a:avLst/>
                <a:gdLst>
                  <a:gd name="connsiteX0" fmla="*/ 88 w 336652"/>
                  <a:gd name="connsiteY0" fmla="*/ 9491 h 606782"/>
                  <a:gd name="connsiteX1" fmla="*/ 74782 w 336652"/>
                  <a:gd name="connsiteY1" fmla="*/ 9491 h 606782"/>
                  <a:gd name="connsiteX2" fmla="*/ 74782 w 336652"/>
                  <a:gd name="connsiteY2" fmla="*/ 143413 h 606782"/>
                  <a:gd name="connsiteX3" fmla="*/ 265561 w 336652"/>
                  <a:gd name="connsiteY3" fmla="*/ 0 h 606782"/>
                  <a:gd name="connsiteX4" fmla="*/ 336652 w 336652"/>
                  <a:gd name="connsiteY4" fmla="*/ 14236 h 606782"/>
                  <a:gd name="connsiteX5" fmla="*/ 336652 w 336652"/>
                  <a:gd name="connsiteY5" fmla="*/ 85327 h 606782"/>
                  <a:gd name="connsiteX6" fmla="*/ 257212 w 336652"/>
                  <a:gd name="connsiteY6" fmla="*/ 69949 h 606782"/>
                  <a:gd name="connsiteX7" fmla="*/ 74694 w 336652"/>
                  <a:gd name="connsiteY7" fmla="*/ 367409 h 606782"/>
                  <a:gd name="connsiteX8" fmla="*/ 74694 w 336652"/>
                  <a:gd name="connsiteY8" fmla="*/ 606783 h 606782"/>
                  <a:gd name="connsiteX9" fmla="*/ 0 w 336652"/>
                  <a:gd name="connsiteY9" fmla="*/ 606783 h 606782"/>
                  <a:gd name="connsiteX10" fmla="*/ 0 w 336652"/>
                  <a:gd name="connsiteY10" fmla="*/ 9491 h 60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652" h="606782">
                    <a:moveTo>
                      <a:pt x="88" y="9491"/>
                    </a:moveTo>
                    <a:lnTo>
                      <a:pt x="74782" y="9491"/>
                    </a:lnTo>
                    <a:lnTo>
                      <a:pt x="74782" y="143413"/>
                    </a:lnTo>
                    <a:cubicBezTo>
                      <a:pt x="104396" y="55713"/>
                      <a:pt x="179091" y="0"/>
                      <a:pt x="265561" y="0"/>
                    </a:cubicBezTo>
                    <a:cubicBezTo>
                      <a:pt x="290429" y="0"/>
                      <a:pt x="317671" y="4745"/>
                      <a:pt x="336652" y="14236"/>
                    </a:cubicBezTo>
                    <a:lnTo>
                      <a:pt x="336652" y="85327"/>
                    </a:lnTo>
                    <a:cubicBezTo>
                      <a:pt x="305808" y="73464"/>
                      <a:pt x="279797" y="69949"/>
                      <a:pt x="257212" y="69949"/>
                    </a:cubicBezTo>
                    <a:cubicBezTo>
                      <a:pt x="150531" y="69949"/>
                      <a:pt x="74694" y="181376"/>
                      <a:pt x="74694" y="367409"/>
                    </a:cubicBezTo>
                    <a:lnTo>
                      <a:pt x="74694" y="606783"/>
                    </a:lnTo>
                    <a:lnTo>
                      <a:pt x="0" y="606783"/>
                    </a:lnTo>
                    <a:lnTo>
                      <a:pt x="0" y="9491"/>
                    </a:lnTo>
                    <a:close/>
                  </a:path>
                </a:pathLst>
              </a:custGeom>
              <a:solidFill>
                <a:srgbClr val="022E33"/>
              </a:solidFill>
              <a:ln w="8786" cap="flat">
                <a:noFill/>
                <a:prstDash val="solid"/>
                <a:miter/>
              </a:ln>
            </p:spPr>
            <p:txBody>
              <a:bodyPr rtlCol="0" anchor="ctr"/>
              <a:lstStyle/>
              <a:p>
                <a:endParaRPr lang="en-US"/>
              </a:p>
            </p:txBody>
          </p:sp>
          <p:sp>
            <p:nvSpPr>
              <p:cNvPr id="41" name="Freeform: Shape 22">
                <a:extLst>
                  <a:ext uri="{FF2B5EF4-FFF2-40B4-BE49-F238E27FC236}">
                    <a16:creationId xmlns:a16="http://schemas.microsoft.com/office/drawing/2014/main" id="{3E961C8F-080C-81C5-6A55-F1333502F4B8}"/>
                  </a:ext>
                </a:extLst>
              </p:cNvPr>
              <p:cNvSpPr/>
              <p:nvPr/>
            </p:nvSpPr>
            <p:spPr>
              <a:xfrm>
                <a:off x="6210590" y="3206410"/>
                <a:ext cx="508361" cy="839126"/>
              </a:xfrm>
              <a:custGeom>
                <a:avLst/>
                <a:gdLst>
                  <a:gd name="connsiteX0" fmla="*/ 167052 w 508361"/>
                  <a:gd name="connsiteY0" fmla="*/ 521543 h 839126"/>
                  <a:gd name="connsiteX1" fmla="*/ 75837 w 508361"/>
                  <a:gd name="connsiteY1" fmla="*/ 602125 h 839126"/>
                  <a:gd name="connsiteX2" fmla="*/ 75837 w 508361"/>
                  <a:gd name="connsiteY2" fmla="*/ 839126 h 839126"/>
                  <a:gd name="connsiteX3" fmla="*/ 0 w 508361"/>
                  <a:gd name="connsiteY3" fmla="*/ 839126 h 839126"/>
                  <a:gd name="connsiteX4" fmla="*/ 0 w 508361"/>
                  <a:gd name="connsiteY4" fmla="*/ 0 h 839126"/>
                  <a:gd name="connsiteX5" fmla="*/ 75837 w 508361"/>
                  <a:gd name="connsiteY5" fmla="*/ 0 h 839126"/>
                  <a:gd name="connsiteX6" fmla="*/ 75837 w 508361"/>
                  <a:gd name="connsiteY6" fmla="*/ 507219 h 839126"/>
                  <a:gd name="connsiteX7" fmla="*/ 382787 w 508361"/>
                  <a:gd name="connsiteY7" fmla="*/ 241746 h 839126"/>
                  <a:gd name="connsiteX8" fmla="*/ 485865 w 508361"/>
                  <a:gd name="connsiteY8" fmla="*/ 241746 h 839126"/>
                  <a:gd name="connsiteX9" fmla="*/ 223908 w 508361"/>
                  <a:gd name="connsiteY9" fmla="*/ 472860 h 839126"/>
                  <a:gd name="connsiteX10" fmla="*/ 508362 w 508361"/>
                  <a:gd name="connsiteY10" fmla="*/ 839038 h 839126"/>
                  <a:gd name="connsiteX11" fmla="*/ 417146 w 508361"/>
                  <a:gd name="connsiteY11" fmla="*/ 839038 h 839126"/>
                  <a:gd name="connsiteX12" fmla="*/ 167052 w 508361"/>
                  <a:gd name="connsiteY12" fmla="*/ 521455 h 83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361" h="839126">
                    <a:moveTo>
                      <a:pt x="167052" y="521543"/>
                    </a:moveTo>
                    <a:lnTo>
                      <a:pt x="75837" y="602125"/>
                    </a:lnTo>
                    <a:lnTo>
                      <a:pt x="75837" y="839126"/>
                    </a:lnTo>
                    <a:lnTo>
                      <a:pt x="0" y="839126"/>
                    </a:lnTo>
                    <a:lnTo>
                      <a:pt x="0" y="0"/>
                    </a:lnTo>
                    <a:lnTo>
                      <a:pt x="75837" y="0"/>
                    </a:lnTo>
                    <a:lnTo>
                      <a:pt x="75837" y="507219"/>
                    </a:lnTo>
                    <a:lnTo>
                      <a:pt x="382787" y="241746"/>
                    </a:lnTo>
                    <a:lnTo>
                      <a:pt x="485865" y="241746"/>
                    </a:lnTo>
                    <a:lnTo>
                      <a:pt x="223908" y="472860"/>
                    </a:lnTo>
                    <a:lnTo>
                      <a:pt x="508362" y="839038"/>
                    </a:lnTo>
                    <a:lnTo>
                      <a:pt x="417146" y="839038"/>
                    </a:lnTo>
                    <a:lnTo>
                      <a:pt x="167052" y="521455"/>
                    </a:lnTo>
                    <a:close/>
                  </a:path>
                </a:pathLst>
              </a:custGeom>
              <a:solidFill>
                <a:srgbClr val="022E33"/>
              </a:solidFill>
              <a:ln w="8786" cap="flat">
                <a:noFill/>
                <a:prstDash val="solid"/>
                <a:miter/>
              </a:ln>
            </p:spPr>
            <p:txBody>
              <a:bodyPr rtlCol="0" anchor="ctr"/>
              <a:lstStyle/>
              <a:p>
                <a:endParaRPr lang="en-US"/>
              </a:p>
            </p:txBody>
          </p:sp>
          <p:sp>
            <p:nvSpPr>
              <p:cNvPr id="42" name="Freeform: Shape 23">
                <a:extLst>
                  <a:ext uri="{FF2B5EF4-FFF2-40B4-BE49-F238E27FC236}">
                    <a16:creationId xmlns:a16="http://schemas.microsoft.com/office/drawing/2014/main" id="{F832C2DB-BEB8-2B67-8762-317E79D01D49}"/>
                  </a:ext>
                </a:extLst>
              </p:cNvPr>
              <p:cNvSpPr/>
              <p:nvPr/>
            </p:nvSpPr>
            <p:spPr>
              <a:xfrm>
                <a:off x="6716666"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80066"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sp>
            <p:nvSpPr>
              <p:cNvPr id="43" name="Freeform: Shape 24">
                <a:extLst>
                  <a:ext uri="{FF2B5EF4-FFF2-40B4-BE49-F238E27FC236}">
                    <a16:creationId xmlns:a16="http://schemas.microsoft.com/office/drawing/2014/main" id="{433CBE50-CC15-D9FC-91B3-FF2871899414}"/>
                  </a:ext>
                </a:extLst>
              </p:cNvPr>
              <p:cNvSpPr/>
              <p:nvPr/>
            </p:nvSpPr>
            <p:spPr>
              <a:xfrm>
                <a:off x="7311586" y="3292879"/>
                <a:ext cx="337794" cy="762147"/>
              </a:xfrm>
              <a:custGeom>
                <a:avLst/>
                <a:gdLst>
                  <a:gd name="connsiteX0" fmla="*/ 104309 w 337794"/>
                  <a:gd name="connsiteY0" fmla="*/ 587889 h 762147"/>
                  <a:gd name="connsiteX1" fmla="*/ 104309 w 337794"/>
                  <a:gd name="connsiteY1" fmla="*/ 218108 h 762147"/>
                  <a:gd name="connsiteX2" fmla="*/ 0 w 337794"/>
                  <a:gd name="connsiteY2" fmla="*/ 218108 h 762147"/>
                  <a:gd name="connsiteX3" fmla="*/ 0 w 337794"/>
                  <a:gd name="connsiteY3" fmla="*/ 155277 h 762147"/>
                  <a:gd name="connsiteX4" fmla="*/ 104309 w 337794"/>
                  <a:gd name="connsiteY4" fmla="*/ 155277 h 762147"/>
                  <a:gd name="connsiteX5" fmla="*/ 104309 w 337794"/>
                  <a:gd name="connsiteY5" fmla="*/ 0 h 762147"/>
                  <a:gd name="connsiteX6" fmla="*/ 179003 w 337794"/>
                  <a:gd name="connsiteY6" fmla="*/ 0 h 762147"/>
                  <a:gd name="connsiteX7" fmla="*/ 179003 w 337794"/>
                  <a:gd name="connsiteY7" fmla="*/ 155277 h 762147"/>
                  <a:gd name="connsiteX8" fmla="*/ 336652 w 337794"/>
                  <a:gd name="connsiteY8" fmla="*/ 155277 h 762147"/>
                  <a:gd name="connsiteX9" fmla="*/ 336652 w 337794"/>
                  <a:gd name="connsiteY9" fmla="*/ 218108 h 762147"/>
                  <a:gd name="connsiteX10" fmla="*/ 179003 w 337794"/>
                  <a:gd name="connsiteY10" fmla="*/ 218108 h 762147"/>
                  <a:gd name="connsiteX11" fmla="*/ 179003 w 337794"/>
                  <a:gd name="connsiteY11" fmla="*/ 583144 h 762147"/>
                  <a:gd name="connsiteX12" fmla="*/ 270218 w 337794"/>
                  <a:gd name="connsiteY12" fmla="*/ 694571 h 762147"/>
                  <a:gd name="connsiteX13" fmla="*/ 337795 w 337794"/>
                  <a:gd name="connsiteY13" fmla="*/ 682707 h 762147"/>
                  <a:gd name="connsiteX14" fmla="*/ 337795 w 337794"/>
                  <a:gd name="connsiteY14" fmla="*/ 747911 h 762147"/>
                  <a:gd name="connsiteX15" fmla="*/ 263100 w 337794"/>
                  <a:gd name="connsiteY15" fmla="*/ 762147 h 762147"/>
                  <a:gd name="connsiteX16" fmla="*/ 104309 w 337794"/>
                  <a:gd name="connsiteY16" fmla="*/ 587889 h 76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94" h="762147">
                    <a:moveTo>
                      <a:pt x="104309" y="587889"/>
                    </a:moveTo>
                    <a:lnTo>
                      <a:pt x="104309" y="218108"/>
                    </a:lnTo>
                    <a:lnTo>
                      <a:pt x="0" y="218108"/>
                    </a:lnTo>
                    <a:lnTo>
                      <a:pt x="0" y="155277"/>
                    </a:lnTo>
                    <a:lnTo>
                      <a:pt x="104309" y="155277"/>
                    </a:lnTo>
                    <a:lnTo>
                      <a:pt x="104309" y="0"/>
                    </a:lnTo>
                    <a:lnTo>
                      <a:pt x="179003" y="0"/>
                    </a:lnTo>
                    <a:lnTo>
                      <a:pt x="179003" y="155277"/>
                    </a:lnTo>
                    <a:lnTo>
                      <a:pt x="336652" y="155277"/>
                    </a:lnTo>
                    <a:lnTo>
                      <a:pt x="336652" y="218108"/>
                    </a:lnTo>
                    <a:lnTo>
                      <a:pt x="179003" y="218108"/>
                    </a:lnTo>
                    <a:lnTo>
                      <a:pt x="179003" y="583144"/>
                    </a:lnTo>
                    <a:cubicBezTo>
                      <a:pt x="179003" y="658981"/>
                      <a:pt x="215735" y="694571"/>
                      <a:pt x="270218" y="694571"/>
                    </a:cubicBezTo>
                    <a:cubicBezTo>
                      <a:pt x="292714" y="694571"/>
                      <a:pt x="318813" y="689825"/>
                      <a:pt x="337795" y="682707"/>
                    </a:cubicBezTo>
                    <a:lnTo>
                      <a:pt x="337795" y="747911"/>
                    </a:lnTo>
                    <a:cubicBezTo>
                      <a:pt x="317671" y="757402"/>
                      <a:pt x="288057" y="762147"/>
                      <a:pt x="263100" y="762147"/>
                    </a:cubicBezTo>
                    <a:cubicBezTo>
                      <a:pt x="169512" y="762147"/>
                      <a:pt x="104309" y="702919"/>
                      <a:pt x="104309" y="587889"/>
                    </a:cubicBezTo>
                    <a:close/>
                  </a:path>
                </a:pathLst>
              </a:custGeom>
              <a:solidFill>
                <a:srgbClr val="022E33"/>
              </a:solidFill>
              <a:ln w="8786" cap="flat">
                <a:noFill/>
                <a:prstDash val="solid"/>
                <a:miter/>
              </a:ln>
            </p:spPr>
            <p:txBody>
              <a:bodyPr rtlCol="0" anchor="ctr"/>
              <a:lstStyle/>
              <a:p>
                <a:endParaRPr lang="en-US"/>
              </a:p>
            </p:txBody>
          </p:sp>
          <p:sp>
            <p:nvSpPr>
              <p:cNvPr id="44" name="Freeform: Shape 25">
                <a:extLst>
                  <a:ext uri="{FF2B5EF4-FFF2-40B4-BE49-F238E27FC236}">
                    <a16:creationId xmlns:a16="http://schemas.microsoft.com/office/drawing/2014/main" id="{7F493827-04AD-493E-1419-048FBD593177}"/>
                  </a:ext>
                </a:extLst>
              </p:cNvPr>
              <p:cNvSpPr/>
              <p:nvPr/>
            </p:nvSpPr>
            <p:spPr>
              <a:xfrm>
                <a:off x="7744198" y="3438753"/>
                <a:ext cx="593864" cy="822517"/>
              </a:xfrm>
              <a:custGeom>
                <a:avLst/>
                <a:gdLst>
                  <a:gd name="connsiteX0" fmla="*/ 0 w 593864"/>
                  <a:gd name="connsiteY0" fmla="*/ 9491 h 822517"/>
                  <a:gd name="connsiteX1" fmla="*/ 74694 w 593864"/>
                  <a:gd name="connsiteY1" fmla="*/ 9491 h 822517"/>
                  <a:gd name="connsiteX2" fmla="*/ 74694 w 593864"/>
                  <a:gd name="connsiteY2" fmla="*/ 129177 h 822517"/>
                  <a:gd name="connsiteX3" fmla="*/ 299920 w 593864"/>
                  <a:gd name="connsiteY3" fmla="*/ 0 h 822517"/>
                  <a:gd name="connsiteX4" fmla="*/ 593865 w 593864"/>
                  <a:gd name="connsiteY4" fmla="*/ 308180 h 822517"/>
                  <a:gd name="connsiteX5" fmla="*/ 299920 w 593864"/>
                  <a:gd name="connsiteY5" fmla="*/ 616361 h 822517"/>
                  <a:gd name="connsiteX6" fmla="*/ 74694 w 593864"/>
                  <a:gd name="connsiteY6" fmla="*/ 485953 h 822517"/>
                  <a:gd name="connsiteX7" fmla="*/ 74694 w 593864"/>
                  <a:gd name="connsiteY7" fmla="*/ 822518 h 822517"/>
                  <a:gd name="connsiteX8" fmla="*/ 0 w 593864"/>
                  <a:gd name="connsiteY8" fmla="*/ 822518 h 822517"/>
                  <a:gd name="connsiteX9" fmla="*/ 0 w 593864"/>
                  <a:gd name="connsiteY9" fmla="*/ 9491 h 822517"/>
                  <a:gd name="connsiteX10" fmla="*/ 296318 w 593864"/>
                  <a:gd name="connsiteY10" fmla="*/ 549927 h 822517"/>
                  <a:gd name="connsiteX11" fmla="*/ 516798 w 593864"/>
                  <a:gd name="connsiteY11" fmla="*/ 308180 h 822517"/>
                  <a:gd name="connsiteX12" fmla="*/ 296318 w 593864"/>
                  <a:gd name="connsiteY12" fmla="*/ 66434 h 822517"/>
                  <a:gd name="connsiteX13" fmla="*/ 74694 w 593864"/>
                  <a:gd name="connsiteY13" fmla="*/ 308180 h 822517"/>
                  <a:gd name="connsiteX14" fmla="*/ 296318 w 593864"/>
                  <a:gd name="connsiteY14" fmla="*/ 549927 h 82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3864" h="822517">
                    <a:moveTo>
                      <a:pt x="0" y="9491"/>
                    </a:moveTo>
                    <a:lnTo>
                      <a:pt x="74694" y="9491"/>
                    </a:lnTo>
                    <a:lnTo>
                      <a:pt x="74694" y="129177"/>
                    </a:lnTo>
                    <a:cubicBezTo>
                      <a:pt x="111426" y="50968"/>
                      <a:pt x="202730" y="0"/>
                      <a:pt x="299920" y="0"/>
                    </a:cubicBezTo>
                    <a:cubicBezTo>
                      <a:pt x="475320" y="0"/>
                      <a:pt x="593865" y="124432"/>
                      <a:pt x="593865" y="308180"/>
                    </a:cubicBezTo>
                    <a:cubicBezTo>
                      <a:pt x="593865" y="491929"/>
                      <a:pt x="475320" y="616361"/>
                      <a:pt x="299920" y="616361"/>
                    </a:cubicBezTo>
                    <a:cubicBezTo>
                      <a:pt x="202730" y="616361"/>
                      <a:pt x="111514" y="563020"/>
                      <a:pt x="74694" y="485953"/>
                    </a:cubicBezTo>
                    <a:lnTo>
                      <a:pt x="74694" y="822518"/>
                    </a:lnTo>
                    <a:lnTo>
                      <a:pt x="0" y="822518"/>
                    </a:lnTo>
                    <a:lnTo>
                      <a:pt x="0" y="9491"/>
                    </a:lnTo>
                    <a:close/>
                    <a:moveTo>
                      <a:pt x="296318" y="549927"/>
                    </a:moveTo>
                    <a:cubicBezTo>
                      <a:pt x="424352" y="549927"/>
                      <a:pt x="516798" y="450364"/>
                      <a:pt x="516798" y="308180"/>
                    </a:cubicBezTo>
                    <a:cubicBezTo>
                      <a:pt x="516798" y="165997"/>
                      <a:pt x="424352" y="66434"/>
                      <a:pt x="296318" y="66434"/>
                    </a:cubicBezTo>
                    <a:cubicBezTo>
                      <a:pt x="168282" y="66434"/>
                      <a:pt x="74694" y="165997"/>
                      <a:pt x="74694" y="308180"/>
                    </a:cubicBezTo>
                    <a:cubicBezTo>
                      <a:pt x="74694" y="450364"/>
                      <a:pt x="168370" y="549927"/>
                      <a:pt x="296318" y="549927"/>
                    </a:cubicBezTo>
                    <a:close/>
                  </a:path>
                </a:pathLst>
              </a:custGeom>
              <a:solidFill>
                <a:srgbClr val="022E33"/>
              </a:solidFill>
              <a:ln w="8786" cap="flat">
                <a:noFill/>
                <a:prstDash val="solid"/>
                <a:miter/>
              </a:ln>
            </p:spPr>
            <p:txBody>
              <a:bodyPr rtlCol="0" anchor="ctr"/>
              <a:lstStyle/>
              <a:p>
                <a:endParaRPr lang="en-US"/>
              </a:p>
            </p:txBody>
          </p:sp>
          <p:sp>
            <p:nvSpPr>
              <p:cNvPr id="45" name="Freeform: Shape 26">
                <a:extLst>
                  <a:ext uri="{FF2B5EF4-FFF2-40B4-BE49-F238E27FC236}">
                    <a16:creationId xmlns:a16="http://schemas.microsoft.com/office/drawing/2014/main" id="{95BF4208-A035-C10E-8586-7F7CC0F8C7E0}"/>
                  </a:ext>
                </a:extLst>
              </p:cNvPr>
              <p:cNvSpPr/>
              <p:nvPr/>
            </p:nvSpPr>
            <p:spPr>
              <a:xfrm>
                <a:off x="8460035" y="3206410"/>
                <a:ext cx="75836" cy="839126"/>
              </a:xfrm>
              <a:custGeom>
                <a:avLst/>
                <a:gdLst>
                  <a:gd name="connsiteX0" fmla="*/ 0 w 75836"/>
                  <a:gd name="connsiteY0" fmla="*/ 0 h 839126"/>
                  <a:gd name="connsiteX1" fmla="*/ 75837 w 75836"/>
                  <a:gd name="connsiteY1" fmla="*/ 0 h 839126"/>
                  <a:gd name="connsiteX2" fmla="*/ 75837 w 75836"/>
                  <a:gd name="connsiteY2" fmla="*/ 839126 h 839126"/>
                  <a:gd name="connsiteX3" fmla="*/ 0 w 75836"/>
                  <a:gd name="connsiteY3" fmla="*/ 839126 h 839126"/>
                  <a:gd name="connsiteX4" fmla="*/ 0 w 75836"/>
                  <a:gd name="connsiteY4" fmla="*/ 0 h 83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6" h="839126">
                    <a:moveTo>
                      <a:pt x="0" y="0"/>
                    </a:moveTo>
                    <a:lnTo>
                      <a:pt x="75837" y="0"/>
                    </a:lnTo>
                    <a:lnTo>
                      <a:pt x="75837" y="839126"/>
                    </a:lnTo>
                    <a:lnTo>
                      <a:pt x="0" y="839126"/>
                    </a:lnTo>
                    <a:lnTo>
                      <a:pt x="0" y="0"/>
                    </a:lnTo>
                    <a:close/>
                  </a:path>
                </a:pathLst>
              </a:custGeom>
              <a:solidFill>
                <a:srgbClr val="022E33"/>
              </a:solidFill>
              <a:ln w="8786" cap="flat">
                <a:noFill/>
                <a:prstDash val="solid"/>
                <a:miter/>
              </a:ln>
            </p:spPr>
            <p:txBody>
              <a:bodyPr rtlCol="0" anchor="ctr"/>
              <a:lstStyle/>
              <a:p>
                <a:endParaRPr lang="en-US"/>
              </a:p>
            </p:txBody>
          </p:sp>
          <p:sp>
            <p:nvSpPr>
              <p:cNvPr id="46" name="Freeform: Shape 27">
                <a:extLst>
                  <a:ext uri="{FF2B5EF4-FFF2-40B4-BE49-F238E27FC236}">
                    <a16:creationId xmlns:a16="http://schemas.microsoft.com/office/drawing/2014/main" id="{040DC7F9-89FB-946B-1736-4FC6B3578D16}"/>
                  </a:ext>
                </a:extLst>
              </p:cNvPr>
              <p:cNvSpPr/>
              <p:nvPr/>
            </p:nvSpPr>
            <p:spPr>
              <a:xfrm>
                <a:off x="8668476"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2 w 488325"/>
                  <a:gd name="connsiteY10" fmla="*/ 606871 h 616361"/>
                  <a:gd name="connsiteX11" fmla="*/ 413632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2" y="93588"/>
                      <a:pt x="111514" y="0"/>
                      <a:pt x="251325" y="0"/>
                    </a:cubicBezTo>
                    <a:cubicBezTo>
                      <a:pt x="391135" y="0"/>
                      <a:pt x="488326" y="84185"/>
                      <a:pt x="488326" y="215735"/>
                    </a:cubicBezTo>
                    <a:lnTo>
                      <a:pt x="488326" y="606871"/>
                    </a:lnTo>
                    <a:lnTo>
                      <a:pt x="413632" y="606871"/>
                    </a:lnTo>
                    <a:lnTo>
                      <a:pt x="413632" y="483581"/>
                    </a:lnTo>
                    <a:cubicBezTo>
                      <a:pt x="392278" y="558275"/>
                      <a:pt x="304578" y="616361"/>
                      <a:pt x="206245" y="616361"/>
                    </a:cubicBezTo>
                    <a:cubicBezTo>
                      <a:pt x="79440" y="616361"/>
                      <a:pt x="0" y="551157"/>
                      <a:pt x="0" y="449221"/>
                    </a:cubicBezTo>
                    <a:close/>
                    <a:moveTo>
                      <a:pt x="211166" y="549927"/>
                    </a:moveTo>
                    <a:cubicBezTo>
                      <a:pt x="332083" y="549927"/>
                      <a:pt x="413807" y="458712"/>
                      <a:pt x="413807" y="327162"/>
                    </a:cubicBezTo>
                    <a:lnTo>
                      <a:pt x="413807" y="296317"/>
                    </a:lnTo>
                    <a:lnTo>
                      <a:pt x="283399" y="310553"/>
                    </a:lnTo>
                    <a:cubicBezTo>
                      <a:pt x="137614"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7" name="Freeform: Shape 28">
                <a:extLst>
                  <a:ext uri="{FF2B5EF4-FFF2-40B4-BE49-F238E27FC236}">
                    <a16:creationId xmlns:a16="http://schemas.microsoft.com/office/drawing/2014/main" id="{44D0A63F-FD0E-2C1D-9D6D-176AE05CAAA0}"/>
                  </a:ext>
                </a:extLst>
              </p:cNvPr>
              <p:cNvSpPr/>
              <p:nvPr/>
            </p:nvSpPr>
            <p:spPr>
              <a:xfrm>
                <a:off x="9270689" y="3438665"/>
                <a:ext cx="555814" cy="616185"/>
              </a:xfrm>
              <a:custGeom>
                <a:avLst/>
                <a:gdLst>
                  <a:gd name="connsiteX0" fmla="*/ 0 w 555814"/>
                  <a:gd name="connsiteY0" fmla="*/ 308181 h 616185"/>
                  <a:gd name="connsiteX1" fmla="*/ 290341 w 555814"/>
                  <a:gd name="connsiteY1" fmla="*/ 0 h 616185"/>
                  <a:gd name="connsiteX2" fmla="*/ 549926 w 555814"/>
                  <a:gd name="connsiteY2" fmla="*/ 197896 h 616185"/>
                  <a:gd name="connsiteX3" fmla="*/ 475232 w 555814"/>
                  <a:gd name="connsiteY3" fmla="*/ 197896 h 616185"/>
                  <a:gd name="connsiteX4" fmla="*/ 290341 w 555814"/>
                  <a:gd name="connsiteY4" fmla="*/ 66346 h 616185"/>
                  <a:gd name="connsiteX5" fmla="*/ 76979 w 555814"/>
                  <a:gd name="connsiteY5" fmla="*/ 308093 h 616185"/>
                  <a:gd name="connsiteX6" fmla="*/ 290341 w 555814"/>
                  <a:gd name="connsiteY6" fmla="*/ 549839 h 616185"/>
                  <a:gd name="connsiteX7" fmla="*/ 481120 w 555814"/>
                  <a:gd name="connsiteY7" fmla="*/ 406426 h 616185"/>
                  <a:gd name="connsiteX8" fmla="*/ 555815 w 555814"/>
                  <a:gd name="connsiteY8" fmla="*/ 406426 h 616185"/>
                  <a:gd name="connsiteX9" fmla="*/ 290341 w 555814"/>
                  <a:gd name="connsiteY9" fmla="*/ 616185 h 616185"/>
                  <a:gd name="connsiteX10" fmla="*/ 0 w 555814"/>
                  <a:gd name="connsiteY10" fmla="*/ 308005 h 6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5814" h="616185">
                    <a:moveTo>
                      <a:pt x="0" y="308181"/>
                    </a:moveTo>
                    <a:cubicBezTo>
                      <a:pt x="0" y="130408"/>
                      <a:pt x="123289" y="0"/>
                      <a:pt x="290341" y="0"/>
                    </a:cubicBezTo>
                    <a:cubicBezTo>
                      <a:pt x="432524" y="0"/>
                      <a:pt x="529715" y="81812"/>
                      <a:pt x="549926" y="197896"/>
                    </a:cubicBezTo>
                    <a:lnTo>
                      <a:pt x="475232" y="197896"/>
                    </a:lnTo>
                    <a:cubicBezTo>
                      <a:pt x="456251" y="118457"/>
                      <a:pt x="385159" y="66346"/>
                      <a:pt x="290341" y="66346"/>
                    </a:cubicBezTo>
                    <a:cubicBezTo>
                      <a:pt x="168282" y="66346"/>
                      <a:pt x="76979" y="167052"/>
                      <a:pt x="76979" y="308093"/>
                    </a:cubicBezTo>
                    <a:cubicBezTo>
                      <a:pt x="76979" y="449133"/>
                      <a:pt x="168194" y="549839"/>
                      <a:pt x="290341" y="549839"/>
                    </a:cubicBezTo>
                    <a:cubicBezTo>
                      <a:pt x="393420" y="549839"/>
                      <a:pt x="468114" y="489380"/>
                      <a:pt x="481120" y="406426"/>
                    </a:cubicBezTo>
                    <a:lnTo>
                      <a:pt x="555815" y="406426"/>
                    </a:lnTo>
                    <a:cubicBezTo>
                      <a:pt x="539206" y="522598"/>
                      <a:pt x="434897" y="616185"/>
                      <a:pt x="290341" y="616185"/>
                    </a:cubicBezTo>
                    <a:cubicBezTo>
                      <a:pt x="123202" y="616185"/>
                      <a:pt x="0" y="484635"/>
                      <a:pt x="0" y="308005"/>
                    </a:cubicBezTo>
                    <a:close/>
                  </a:path>
                </a:pathLst>
              </a:custGeom>
              <a:solidFill>
                <a:srgbClr val="022E33"/>
              </a:solidFill>
              <a:ln w="8786" cap="flat">
                <a:noFill/>
                <a:prstDash val="solid"/>
                <a:miter/>
              </a:ln>
            </p:spPr>
            <p:txBody>
              <a:bodyPr rtlCol="0" anchor="ctr"/>
              <a:lstStyle/>
              <a:p>
                <a:endParaRPr lang="en-US"/>
              </a:p>
            </p:txBody>
          </p:sp>
          <p:sp>
            <p:nvSpPr>
              <p:cNvPr id="48" name="Freeform: Shape 29">
                <a:extLst>
                  <a:ext uri="{FF2B5EF4-FFF2-40B4-BE49-F238E27FC236}">
                    <a16:creationId xmlns:a16="http://schemas.microsoft.com/office/drawing/2014/main" id="{78E207CA-E26C-6809-7F6B-20A98539CA83}"/>
                  </a:ext>
                </a:extLst>
              </p:cNvPr>
              <p:cNvSpPr/>
              <p:nvPr/>
            </p:nvSpPr>
            <p:spPr>
              <a:xfrm>
                <a:off x="9898825"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79978"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5887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30E3C8A0-7CD5-B5E1-A2B9-B053B5F2BC33}"/>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A3AD7066-27D0-085B-5E62-BDE0B72EA81D}"/>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AB39F9BC-FC56-0F72-EFD7-95DF0B93C072}"/>
              </a:ext>
            </a:extLst>
          </p:cNvPr>
          <p:cNvPicPr>
            <a:picLocks noChangeAspect="1"/>
          </p:cNvPicPr>
          <p:nvPr userDrawn="1"/>
        </p:nvPicPr>
        <p:blipFill>
          <a:blip r:embed="rId5">
            <a:alphaModFix amt="40000"/>
          </a:blip>
          <a:stretch>
            <a:fillRect/>
          </a:stretch>
        </p:blipFill>
        <p:spPr>
          <a:xfrm>
            <a:off x="9982200" y="4899118"/>
            <a:ext cx="2743200" cy="1958882"/>
          </a:xfrm>
          <a:prstGeom prst="rect">
            <a:avLst/>
          </a:prstGeom>
        </p:spPr>
      </p:pic>
      <p:sp>
        <p:nvSpPr>
          <p:cNvPr id="16" name="TekstSylinder 15">
            <a:extLst>
              <a:ext uri="{FF2B5EF4-FFF2-40B4-BE49-F238E27FC236}">
                <a16:creationId xmlns:a16="http://schemas.microsoft.com/office/drawing/2014/main" id="{E0F6F0CB-E1DC-B7B0-1D83-811275FC7252}"/>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8251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544B0E9-53E0-BBCC-2570-1021C81E621F}"/>
              </a:ext>
            </a:extLst>
          </p:cNvPr>
          <p:cNvSpPr>
            <a:spLocks noGrp="1"/>
          </p:cNvSpPr>
          <p:nvPr>
            <p:ph type="body" sz="quarter" idx="16" hasCustomPrompt="1"/>
          </p:nvPr>
        </p:nvSpPr>
        <p:spPr>
          <a:xfrm>
            <a:off x="959977" y="2072789"/>
            <a:ext cx="600022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F0A02AE8-279A-C287-A2B3-BFA73DA16B73}"/>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162889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365D3B74-F2A0-F98C-A73F-65F3909E674D}"/>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F1347D3A-AAE8-2B52-5AB3-BBDB174040C8}"/>
              </a:ext>
            </a:extLst>
          </p:cNvPr>
          <p:cNvPicPr>
            <a:picLocks noChangeAspect="1"/>
          </p:cNvPicPr>
          <p:nvPr userDrawn="1"/>
        </p:nvPicPr>
        <p:blipFill>
          <a:blip r:embed="rId2">
            <a:alphaModFix amt="40000"/>
          </a:blip>
          <a:stretch>
            <a:fillRect/>
          </a:stretch>
        </p:blipFill>
        <p:spPr>
          <a:xfrm>
            <a:off x="9982200" y="4899118"/>
            <a:ext cx="2743200" cy="1958882"/>
          </a:xfrm>
          <a:prstGeom prst="rect">
            <a:avLst/>
          </a:prstGeom>
        </p:spPr>
      </p:pic>
      <p:pic>
        <p:nvPicPr>
          <p:cNvPr id="10" name="Bilde 9">
            <a:extLst>
              <a:ext uri="{FF2B5EF4-FFF2-40B4-BE49-F238E27FC236}">
                <a16:creationId xmlns:a16="http://schemas.microsoft.com/office/drawing/2014/main" id="{AFFDAC87-ACCF-ECDD-CA2E-A7D14342D30B}"/>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EA26B9D8-F334-003A-7658-B00F210D064B}"/>
              </a:ext>
            </a:extLst>
          </p:cNvPr>
          <p:cNvSpPr txBox="1"/>
          <p:nvPr userDrawn="1"/>
        </p:nvSpPr>
        <p:spPr>
          <a:xfrm>
            <a:off x="56335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70081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15736A9D-E119-D712-7A6C-6605C559F18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1BF7B944-EFD1-42D5-2F71-8C93423DCE1F}"/>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406421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go + payoff - white background">
    <p:spTree>
      <p:nvGrpSpPr>
        <p:cNvPr id="1" name=""/>
        <p:cNvGrpSpPr/>
        <p:nvPr/>
      </p:nvGrpSpPr>
      <p:grpSpPr>
        <a:xfrm>
          <a:off x="0" y="0"/>
          <a:ext cx="0" cy="0"/>
          <a:chOff x="0" y="0"/>
          <a:chExt cx="0" cy="0"/>
        </a:xfrm>
      </p:grpSpPr>
      <p:grpSp>
        <p:nvGrpSpPr>
          <p:cNvPr id="59" name="Gruppe 58">
            <a:extLst>
              <a:ext uri="{FF2B5EF4-FFF2-40B4-BE49-F238E27FC236}">
                <a16:creationId xmlns:a16="http://schemas.microsoft.com/office/drawing/2014/main" id="{DDC1EEC5-14C5-1D81-4B10-0994F6DFA50A}"/>
              </a:ext>
            </a:extLst>
          </p:cNvPr>
          <p:cNvGrpSpPr/>
          <p:nvPr userDrawn="1"/>
        </p:nvGrpSpPr>
        <p:grpSpPr>
          <a:xfrm>
            <a:off x="3269302" y="2946390"/>
            <a:ext cx="5653397" cy="1009825"/>
            <a:chOff x="3486615" y="3161790"/>
            <a:chExt cx="5653397" cy="1009825"/>
          </a:xfrm>
        </p:grpSpPr>
        <p:grpSp>
          <p:nvGrpSpPr>
            <p:cNvPr id="44" name="Gruppe 43">
              <a:extLst>
                <a:ext uri="{FF2B5EF4-FFF2-40B4-BE49-F238E27FC236}">
                  <a16:creationId xmlns:a16="http://schemas.microsoft.com/office/drawing/2014/main" id="{6400029C-54B7-16B3-A0D7-C61870A249EC}"/>
                </a:ext>
              </a:extLst>
            </p:cNvPr>
            <p:cNvGrpSpPr/>
            <p:nvPr userDrawn="1"/>
          </p:nvGrpSpPr>
          <p:grpSpPr>
            <a:xfrm>
              <a:off x="3486615" y="3161790"/>
              <a:ext cx="5494677" cy="508869"/>
              <a:chOff x="1869557" y="3038867"/>
              <a:chExt cx="8450697" cy="782630"/>
            </a:xfrm>
          </p:grpSpPr>
          <p:grpSp>
            <p:nvGrpSpPr>
              <p:cNvPr id="45" name="Graphic 10">
                <a:extLst>
                  <a:ext uri="{FF2B5EF4-FFF2-40B4-BE49-F238E27FC236}">
                    <a16:creationId xmlns:a16="http://schemas.microsoft.com/office/drawing/2014/main" id="{AEDE1645-26CC-2A12-F220-408C1CA2B084}"/>
                  </a:ext>
                </a:extLst>
              </p:cNvPr>
              <p:cNvGrpSpPr/>
              <p:nvPr userDrawn="1"/>
            </p:nvGrpSpPr>
            <p:grpSpPr>
              <a:xfrm>
                <a:off x="1869557" y="3038867"/>
                <a:ext cx="4569287" cy="782630"/>
                <a:chOff x="1869557" y="3038867"/>
                <a:chExt cx="4569287" cy="782630"/>
              </a:xfrm>
              <a:solidFill>
                <a:srgbClr val="01796F"/>
              </a:solidFill>
            </p:grpSpPr>
            <p:sp>
              <p:nvSpPr>
                <p:cNvPr id="52" name="Freeform: Shape 12">
                  <a:extLst>
                    <a:ext uri="{FF2B5EF4-FFF2-40B4-BE49-F238E27FC236}">
                      <a16:creationId xmlns:a16="http://schemas.microsoft.com/office/drawing/2014/main" id="{72A9011B-2DAF-49BF-F1B0-09D88EC3A737}"/>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53" name="Freeform: Shape 13">
                  <a:extLst>
                    <a:ext uri="{FF2B5EF4-FFF2-40B4-BE49-F238E27FC236}">
                      <a16:creationId xmlns:a16="http://schemas.microsoft.com/office/drawing/2014/main" id="{14947B61-CD16-E13C-6246-B0F3245F5921}"/>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4" name="Freeform: Shape 14">
                  <a:extLst>
                    <a:ext uri="{FF2B5EF4-FFF2-40B4-BE49-F238E27FC236}">
                      <a16:creationId xmlns:a16="http://schemas.microsoft.com/office/drawing/2014/main" id="{42C17EC1-77A8-08CB-38B3-15AADA73B9F9}"/>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55" name="Freeform: Shape 15">
                  <a:extLst>
                    <a:ext uri="{FF2B5EF4-FFF2-40B4-BE49-F238E27FC236}">
                      <a16:creationId xmlns:a16="http://schemas.microsoft.com/office/drawing/2014/main" id="{8A0D960C-D026-9075-6EC9-228E6E29F1AB}"/>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56" name="Freeform: Shape 16">
                  <a:extLst>
                    <a:ext uri="{FF2B5EF4-FFF2-40B4-BE49-F238E27FC236}">
                      <a16:creationId xmlns:a16="http://schemas.microsoft.com/office/drawing/2014/main" id="{D545A8F1-E764-7889-569B-B5F2948EE78C}"/>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57" name="Freeform: Shape 17">
                  <a:extLst>
                    <a:ext uri="{FF2B5EF4-FFF2-40B4-BE49-F238E27FC236}">
                      <a16:creationId xmlns:a16="http://schemas.microsoft.com/office/drawing/2014/main" id="{DF105826-8DCD-A2E6-4214-B79139C60BEC}"/>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46" name="Graphic 10">
                <a:extLst>
                  <a:ext uri="{FF2B5EF4-FFF2-40B4-BE49-F238E27FC236}">
                    <a16:creationId xmlns:a16="http://schemas.microsoft.com/office/drawing/2014/main" id="{E31A5CBC-BE0F-566C-56EA-99638564C2C9}"/>
                  </a:ext>
                </a:extLst>
              </p:cNvPr>
              <p:cNvGrpSpPr/>
              <p:nvPr userDrawn="1"/>
            </p:nvGrpSpPr>
            <p:grpSpPr>
              <a:xfrm>
                <a:off x="6695031" y="3038867"/>
                <a:ext cx="3625223" cy="782630"/>
                <a:chOff x="6695031" y="3038867"/>
                <a:chExt cx="3625223" cy="782630"/>
              </a:xfrm>
              <a:solidFill>
                <a:srgbClr val="01796F"/>
              </a:solidFill>
            </p:grpSpPr>
            <p:sp>
              <p:nvSpPr>
                <p:cNvPr id="47" name="Freeform: Shape 19">
                  <a:extLst>
                    <a:ext uri="{FF2B5EF4-FFF2-40B4-BE49-F238E27FC236}">
                      <a16:creationId xmlns:a16="http://schemas.microsoft.com/office/drawing/2014/main" id="{2B94F43B-1BEA-DB3F-3176-25D573BE0F0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48" name="Freeform: Shape 20">
                  <a:extLst>
                    <a:ext uri="{FF2B5EF4-FFF2-40B4-BE49-F238E27FC236}">
                      <a16:creationId xmlns:a16="http://schemas.microsoft.com/office/drawing/2014/main" id="{8081F523-838D-0A48-2E49-02277756F9DB}"/>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49" name="Freeform: Shape 21">
                  <a:extLst>
                    <a:ext uri="{FF2B5EF4-FFF2-40B4-BE49-F238E27FC236}">
                      <a16:creationId xmlns:a16="http://schemas.microsoft.com/office/drawing/2014/main" id="{D4FD1A07-6F74-582B-3B0A-CA4DE69A9FDE}"/>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50" name="Freeform: Shape 22">
                  <a:extLst>
                    <a:ext uri="{FF2B5EF4-FFF2-40B4-BE49-F238E27FC236}">
                      <a16:creationId xmlns:a16="http://schemas.microsoft.com/office/drawing/2014/main" id="{077EC9C9-7256-FB9C-A9E8-FEA441CDF073}"/>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51" name="Freeform: Shape 23">
                  <a:extLst>
                    <a:ext uri="{FF2B5EF4-FFF2-40B4-BE49-F238E27FC236}">
                      <a16:creationId xmlns:a16="http://schemas.microsoft.com/office/drawing/2014/main" id="{56D4AE69-A81E-C75E-1F00-DF3BCCB38DE6}"/>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
          <p:nvSpPr>
            <p:cNvPr id="58" name="TekstSylinder 57">
              <a:extLst>
                <a:ext uri="{FF2B5EF4-FFF2-40B4-BE49-F238E27FC236}">
                  <a16:creationId xmlns:a16="http://schemas.microsoft.com/office/drawing/2014/main" id="{5F2C34F1-BD69-BA7F-7870-8AA126B4E7E8}"/>
                </a:ext>
              </a:extLst>
            </p:cNvPr>
            <p:cNvSpPr txBox="1"/>
            <p:nvPr userDrawn="1"/>
          </p:nvSpPr>
          <p:spPr>
            <a:xfrm>
              <a:off x="4866085" y="3771505"/>
              <a:ext cx="4273927" cy="400110"/>
            </a:xfrm>
            <a:prstGeom prst="rect">
              <a:avLst/>
            </a:prstGeom>
            <a:noFill/>
          </p:spPr>
          <p:txBody>
            <a:bodyPr wrap="square" rtlCol="0">
              <a:spAutoFit/>
            </a:bodyPr>
            <a:lstStyle/>
            <a:p>
              <a:r>
                <a:rPr lang="nb-NO" sz="2000">
                  <a:solidFill>
                    <a:schemeClr val="tx2"/>
                  </a:solidFill>
                  <a:latin typeface="Haffer" pitchFamily="2" charset="77"/>
                  <a:cs typeface="Haffer" pitchFamily="2" charset="77"/>
                </a:rPr>
                <a:t>– at </a:t>
              </a:r>
              <a:r>
                <a:rPr lang="nb-NO" sz="2000" err="1">
                  <a:solidFill>
                    <a:schemeClr val="tx2"/>
                  </a:solidFill>
                  <a:latin typeface="Haffer" pitchFamily="2" charset="77"/>
                  <a:cs typeface="Haffer" pitchFamily="2" charset="77"/>
                </a:rPr>
                <a:t>the</a:t>
              </a:r>
              <a:r>
                <a:rPr lang="nb-NO" sz="2000">
                  <a:solidFill>
                    <a:schemeClr val="tx2"/>
                  </a:solidFill>
                  <a:latin typeface="Haffer" pitchFamily="2" charset="77"/>
                  <a:cs typeface="Haffer" pitchFamily="2" charset="77"/>
                </a:rPr>
                <a:t> forefront </a:t>
              </a:r>
              <a:r>
                <a:rPr lang="nb-NO" sz="2000" err="1">
                  <a:solidFill>
                    <a:schemeClr val="tx2"/>
                  </a:solidFill>
                  <a:latin typeface="Haffer" pitchFamily="2" charset="77"/>
                  <a:cs typeface="Haffer" pitchFamily="2" charset="77"/>
                </a:rPr>
                <a:t>of</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energy</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markets</a:t>
              </a:r>
              <a:endParaRPr lang="nb-NO" sz="2000">
                <a:solidFill>
                  <a:schemeClr val="tx2"/>
                </a:solidFill>
                <a:latin typeface="Haffer" pitchFamily="2" charset="77"/>
                <a:cs typeface="Haffer" pitchFamily="2" charset="77"/>
              </a:endParaRPr>
            </a:p>
          </p:txBody>
        </p:sp>
      </p:grpSp>
    </p:spTree>
    <p:extLst>
      <p:ext uri="{BB962C8B-B14F-4D97-AF65-F5344CB8AC3E}">
        <p14:creationId xmlns:p14="http://schemas.microsoft.com/office/powerpoint/2010/main" val="8635632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10.xml"/><Relationship Id="rId5" Type="http://schemas.openxmlformats.org/officeDocument/2006/relationships/slideLayout" Target="../slideLayouts/slideLayout73.xml"/><Relationship Id="rId4" Type="http://schemas.openxmlformats.org/officeDocument/2006/relationships/slideLayout" Target="../slideLayouts/slideLayout7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heme" Target="../theme/theme11.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12.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13.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5.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6.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7.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8.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9.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63118"/>
      </p:ext>
    </p:extLst>
  </p:cSld>
  <p:clrMap bg1="lt1" tx1="dk1" bg2="lt2" tx2="dk2" accent1="accent1" accent2="accent2" accent3="accent3" accent4="accent4" accent5="accent5" accent6="accent6" hlink="hlink" folHlink="folHlink"/>
  <p:sldLayoutIdLst>
    <p:sldLayoutId id="2147483660" r:id="rId1"/>
    <p:sldLayoutId id="2147483728" r:id="rId2"/>
    <p:sldLayoutId id="2147483747" r:id="rId3"/>
    <p:sldLayoutId id="2147483668" r:id="rId4"/>
    <p:sldLayoutId id="2147483730" r:id="rId5"/>
    <p:sldLayoutId id="2147483731" r:id="rId6"/>
    <p:sldLayoutId id="2147483729" r:id="rId7"/>
    <p:sldLayoutId id="2147483666" r:id="rId8"/>
    <p:sldLayoutId id="2147483665" r:id="rId9"/>
    <p:sldLayoutId id="2147483766" r:id="rId10"/>
    <p:sldLayoutId id="2147483768" r:id="rId11"/>
    <p:sldLayoutId id="2147483770" r:id="rId12"/>
    <p:sldLayoutId id="2147483771" r:id="rId13"/>
    <p:sldLayoutId id="2147483772" r:id="rId14"/>
    <p:sldLayoutId id="2147483773" r:id="rId15"/>
    <p:sldLayoutId id="2147483774" r:id="rId16"/>
    <p:sldLayoutId id="214748377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2276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42" r:id="rId3"/>
    <p:sldLayoutId id="2147483707" r:id="rId4"/>
    <p:sldLayoutId id="214748370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2221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43" r:id="rId3"/>
    <p:sldLayoutId id="2147483713" r:id="rId4"/>
    <p:sldLayoutId id="214748371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72464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45" r:id="rId3"/>
    <p:sldLayoutId id="2147483719" r:id="rId4"/>
    <p:sldLayoutId id="214748372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76733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46" r:id="rId3"/>
    <p:sldLayoutId id="2147483725" r:id="rId4"/>
    <p:sldLayoutId id="214748372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8995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763" r:id="rId3"/>
    <p:sldLayoutId id="2147483670" r:id="rId4"/>
    <p:sldLayoutId id="2147483762" r:id="rId5"/>
    <p:sldLayoutId id="2147483669" r:id="rId6"/>
    <p:sldLayoutId id="2147483748" r:id="rId7"/>
    <p:sldLayoutId id="2147483736" r:id="rId8"/>
    <p:sldLayoutId id="2147483765" r:id="rId9"/>
    <p:sldLayoutId id="2147483764" r:id="rId10"/>
    <p:sldLayoutId id="2147483751" r:id="rId11"/>
    <p:sldLayoutId id="214748375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487731"/>
      </p:ext>
    </p:extLst>
  </p:cSld>
  <p:clrMap bg1="lt1" tx1="dk1" bg2="lt2" tx2="dk2" accent1="accent1" accent2="accent2" accent3="accent3" accent4="accent4" accent5="accent5" accent6="accent6" hlink="hlink" folHlink="folHlink"/>
  <p:sldLayoutIdLst>
    <p:sldLayoutId id="2147483759" r:id="rId1"/>
    <p:sldLayoutId id="2147483761" r:id="rId2"/>
    <p:sldLayoutId id="2147483760" r:id="rId3"/>
    <p:sldLayoutId id="2147483756" r:id="rId4"/>
    <p:sldLayoutId id="2147483757" r:id="rId5"/>
    <p:sldLayoutId id="2147483758" r:id="rId6"/>
    <p:sldLayoutId id="2147483755" r:id="rId7"/>
    <p:sldLayoutId id="214748375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39824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49" r:id="rId5"/>
    <p:sldLayoutId id="2147483672"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0978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738" r:id="rId3"/>
    <p:sldLayoutId id="2147483677" r:id="rId4"/>
    <p:sldLayoutId id="214748367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48381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739" r:id="rId3"/>
    <p:sldLayoutId id="2147483683" r:id="rId4"/>
    <p:sldLayoutId id="214748368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67497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740" r:id="rId3"/>
    <p:sldLayoutId id="2147483689" r:id="rId4"/>
    <p:sldLayoutId id="214748369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474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741" r:id="rId3"/>
    <p:sldLayoutId id="2147483695" r:id="rId4"/>
    <p:sldLayoutId id="214748369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3326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44" r:id="rId3"/>
    <p:sldLayoutId id="2147483701" r:id="rId4"/>
    <p:sldLayoutId id="2147483702"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lIns="91440" tIns="45720" rIns="91440" bIns="45720" anchor="b"/>
          <a:lstStyle/>
          <a:p>
            <a:r>
              <a:rPr lang="en-US" dirty="0" err="1">
                <a:latin typeface="Haffer"/>
                <a:cs typeface="Haffer"/>
              </a:rPr>
              <a:t>Decarbonising</a:t>
            </a:r>
            <a:r>
              <a:rPr lang="en-US" dirty="0">
                <a:latin typeface="Haffer"/>
                <a:cs typeface="Haffer"/>
              </a:rPr>
              <a:t> the UK: Challenges and Options for the Incoming Government.</a:t>
            </a:r>
          </a:p>
        </p:txBody>
      </p:sp>
    </p:spTree>
    <p:extLst>
      <p:ext uri="{BB962C8B-B14F-4D97-AF65-F5344CB8AC3E}">
        <p14:creationId xmlns:p14="http://schemas.microsoft.com/office/powerpoint/2010/main" val="1357019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Generation Build Out</a:t>
            </a:r>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r>
              <a:rPr lang="en-US" dirty="0"/>
              <a:t>Targets in the Manifesto</a:t>
            </a:r>
          </a:p>
          <a:p>
            <a:pPr lvl="1"/>
            <a:r>
              <a:rPr lang="en-US" dirty="0"/>
              <a:t>Double Onshore Wind (15 to 30 GW)</a:t>
            </a:r>
          </a:p>
          <a:p>
            <a:pPr lvl="1"/>
            <a:r>
              <a:rPr lang="en-US" dirty="0"/>
              <a:t>Triple Solar (17GW to 51GW)</a:t>
            </a:r>
          </a:p>
          <a:p>
            <a:pPr lvl="1"/>
            <a:r>
              <a:rPr lang="en-US" dirty="0"/>
              <a:t>Quadruple Offshore Wind (13 GW to 54GW)</a:t>
            </a:r>
          </a:p>
          <a:p>
            <a:r>
              <a:rPr lang="en-US" dirty="0"/>
              <a:t>Invest in CCS, Hydrogen, Marine Energy, Long Term Energy Storage</a:t>
            </a:r>
          </a:p>
          <a:p>
            <a:r>
              <a:rPr lang="en-US" dirty="0"/>
              <a:t>Extending Existing Nuclear, build Sizewell C and SMRs </a:t>
            </a:r>
            <a:endParaRPr lang="en-GB" dirty="0"/>
          </a:p>
        </p:txBody>
      </p:sp>
    </p:spTree>
    <p:extLst>
      <p:ext uri="{BB962C8B-B14F-4D97-AF65-F5344CB8AC3E}">
        <p14:creationId xmlns:p14="http://schemas.microsoft.com/office/powerpoint/2010/main" val="3925231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Renewable Penetration Now</a:t>
            </a:r>
          </a:p>
          <a:p>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endParaRPr lang="en-GB"/>
          </a:p>
        </p:txBody>
      </p:sp>
      <p:pic>
        <p:nvPicPr>
          <p:cNvPr id="6" name="Picture 5">
            <a:extLst>
              <a:ext uri="{FF2B5EF4-FFF2-40B4-BE49-F238E27FC236}">
                <a16:creationId xmlns:a16="http://schemas.microsoft.com/office/drawing/2014/main" id="{766DB09C-7A5D-FF17-614A-15081D3C3A5B}"/>
              </a:ext>
            </a:extLst>
          </p:cNvPr>
          <p:cNvPicPr>
            <a:picLocks noChangeAspect="1"/>
          </p:cNvPicPr>
          <p:nvPr/>
        </p:nvPicPr>
        <p:blipFill>
          <a:blip r:embed="rId3"/>
          <a:stretch>
            <a:fillRect/>
          </a:stretch>
        </p:blipFill>
        <p:spPr>
          <a:xfrm>
            <a:off x="312833" y="2072789"/>
            <a:ext cx="5783167" cy="3781737"/>
          </a:xfrm>
          <a:prstGeom prst="rect">
            <a:avLst/>
          </a:prstGeom>
        </p:spPr>
      </p:pic>
      <p:pic>
        <p:nvPicPr>
          <p:cNvPr id="7" name="Picture 6">
            <a:extLst>
              <a:ext uri="{FF2B5EF4-FFF2-40B4-BE49-F238E27FC236}">
                <a16:creationId xmlns:a16="http://schemas.microsoft.com/office/drawing/2014/main" id="{4F89E5AF-3DEF-CEA1-E398-F1537E98A035}"/>
              </a:ext>
            </a:extLst>
          </p:cNvPr>
          <p:cNvPicPr>
            <a:picLocks noChangeAspect="1"/>
          </p:cNvPicPr>
          <p:nvPr/>
        </p:nvPicPr>
        <p:blipFill>
          <a:blip r:embed="rId4"/>
          <a:stretch>
            <a:fillRect/>
          </a:stretch>
        </p:blipFill>
        <p:spPr>
          <a:xfrm>
            <a:off x="6096000" y="2072789"/>
            <a:ext cx="5752410" cy="3761624"/>
          </a:xfrm>
          <a:prstGeom prst="rect">
            <a:avLst/>
          </a:prstGeom>
        </p:spPr>
      </p:pic>
      <p:sp>
        <p:nvSpPr>
          <p:cNvPr id="8" name="TextBox 7">
            <a:extLst>
              <a:ext uri="{FF2B5EF4-FFF2-40B4-BE49-F238E27FC236}">
                <a16:creationId xmlns:a16="http://schemas.microsoft.com/office/drawing/2014/main" id="{07EF3D2E-768C-537E-F5DE-D4C3F74F50E5}"/>
              </a:ext>
            </a:extLst>
          </p:cNvPr>
          <p:cNvSpPr txBox="1"/>
          <p:nvPr/>
        </p:nvSpPr>
        <p:spPr>
          <a:xfrm>
            <a:off x="7962210" y="5955268"/>
            <a:ext cx="3886200" cy="369332"/>
          </a:xfrm>
          <a:prstGeom prst="rect">
            <a:avLst/>
          </a:prstGeom>
          <a:noFill/>
        </p:spPr>
        <p:txBody>
          <a:bodyPr wrap="square" rtlCol="0">
            <a:spAutoFit/>
          </a:bodyPr>
          <a:lstStyle/>
          <a:p>
            <a:pPr algn="r"/>
            <a:r>
              <a:rPr lang="en-US" dirty="0"/>
              <a:t>Source : Montel Analytics</a:t>
            </a:r>
            <a:endParaRPr lang="en-GB" dirty="0"/>
          </a:p>
        </p:txBody>
      </p:sp>
    </p:spTree>
    <p:extLst>
      <p:ext uri="{BB962C8B-B14F-4D97-AF65-F5344CB8AC3E}">
        <p14:creationId xmlns:p14="http://schemas.microsoft.com/office/powerpoint/2010/main" val="226675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Renewable Penetration 2029/2030</a:t>
            </a:r>
          </a:p>
          <a:p>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endParaRPr lang="en-GB"/>
          </a:p>
        </p:txBody>
      </p:sp>
      <p:pic>
        <p:nvPicPr>
          <p:cNvPr id="5" name="Picture 4">
            <a:extLst>
              <a:ext uri="{FF2B5EF4-FFF2-40B4-BE49-F238E27FC236}">
                <a16:creationId xmlns:a16="http://schemas.microsoft.com/office/drawing/2014/main" id="{0DB648EB-1764-464F-5B90-FEE8FA9E7C05}"/>
              </a:ext>
            </a:extLst>
          </p:cNvPr>
          <p:cNvPicPr>
            <a:picLocks noChangeAspect="1"/>
          </p:cNvPicPr>
          <p:nvPr/>
        </p:nvPicPr>
        <p:blipFill>
          <a:blip r:embed="rId3"/>
          <a:stretch>
            <a:fillRect/>
          </a:stretch>
        </p:blipFill>
        <p:spPr>
          <a:xfrm>
            <a:off x="312833" y="2072788"/>
            <a:ext cx="5783167" cy="3781737"/>
          </a:xfrm>
          <a:prstGeom prst="rect">
            <a:avLst/>
          </a:prstGeom>
        </p:spPr>
      </p:pic>
      <p:pic>
        <p:nvPicPr>
          <p:cNvPr id="8" name="Picture 7">
            <a:extLst>
              <a:ext uri="{FF2B5EF4-FFF2-40B4-BE49-F238E27FC236}">
                <a16:creationId xmlns:a16="http://schemas.microsoft.com/office/drawing/2014/main" id="{89784E26-5D6B-9946-2B42-97D267C69842}"/>
              </a:ext>
            </a:extLst>
          </p:cNvPr>
          <p:cNvPicPr>
            <a:picLocks noChangeAspect="1"/>
          </p:cNvPicPr>
          <p:nvPr/>
        </p:nvPicPr>
        <p:blipFill>
          <a:blip r:embed="rId4"/>
          <a:stretch>
            <a:fillRect/>
          </a:stretch>
        </p:blipFill>
        <p:spPr>
          <a:xfrm>
            <a:off x="6096000" y="2072789"/>
            <a:ext cx="5783167" cy="3781737"/>
          </a:xfrm>
          <a:prstGeom prst="rect">
            <a:avLst/>
          </a:prstGeom>
        </p:spPr>
      </p:pic>
      <p:sp>
        <p:nvSpPr>
          <p:cNvPr id="9" name="TextBox 8">
            <a:extLst>
              <a:ext uri="{FF2B5EF4-FFF2-40B4-BE49-F238E27FC236}">
                <a16:creationId xmlns:a16="http://schemas.microsoft.com/office/drawing/2014/main" id="{62D420A8-DCF0-EDE1-F3D7-3CE75968D804}"/>
              </a:ext>
            </a:extLst>
          </p:cNvPr>
          <p:cNvSpPr txBox="1"/>
          <p:nvPr/>
        </p:nvSpPr>
        <p:spPr>
          <a:xfrm>
            <a:off x="7962210" y="5955268"/>
            <a:ext cx="3886200" cy="369332"/>
          </a:xfrm>
          <a:prstGeom prst="rect">
            <a:avLst/>
          </a:prstGeom>
          <a:noFill/>
        </p:spPr>
        <p:txBody>
          <a:bodyPr wrap="square" rtlCol="0">
            <a:spAutoFit/>
          </a:bodyPr>
          <a:lstStyle/>
          <a:p>
            <a:pPr algn="r"/>
            <a:r>
              <a:rPr lang="en-US" dirty="0"/>
              <a:t>Source : Montel Analytics</a:t>
            </a:r>
            <a:endParaRPr lang="en-GB" dirty="0"/>
          </a:p>
        </p:txBody>
      </p:sp>
    </p:spTree>
    <p:extLst>
      <p:ext uri="{BB962C8B-B14F-4D97-AF65-F5344CB8AC3E}">
        <p14:creationId xmlns:p14="http://schemas.microsoft.com/office/powerpoint/2010/main" val="1360074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Solar Build Out</a:t>
            </a:r>
          </a:p>
          <a:p>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endParaRPr lang="en-GB"/>
          </a:p>
        </p:txBody>
      </p:sp>
      <p:pic>
        <p:nvPicPr>
          <p:cNvPr id="5" name="Picture 4">
            <a:extLst>
              <a:ext uri="{FF2B5EF4-FFF2-40B4-BE49-F238E27FC236}">
                <a16:creationId xmlns:a16="http://schemas.microsoft.com/office/drawing/2014/main" id="{23DB96D4-ABD8-E3E2-FC96-63A050FB0CDC}"/>
              </a:ext>
            </a:extLst>
          </p:cNvPr>
          <p:cNvPicPr>
            <a:picLocks noChangeAspect="1"/>
          </p:cNvPicPr>
          <p:nvPr/>
        </p:nvPicPr>
        <p:blipFill>
          <a:blip r:embed="rId3"/>
          <a:stretch>
            <a:fillRect/>
          </a:stretch>
        </p:blipFill>
        <p:spPr>
          <a:xfrm>
            <a:off x="959977" y="1270583"/>
            <a:ext cx="8471189" cy="5536617"/>
          </a:xfrm>
          <a:prstGeom prst="rect">
            <a:avLst/>
          </a:prstGeom>
        </p:spPr>
      </p:pic>
      <p:sp>
        <p:nvSpPr>
          <p:cNvPr id="6" name="TextBox 5">
            <a:extLst>
              <a:ext uri="{FF2B5EF4-FFF2-40B4-BE49-F238E27FC236}">
                <a16:creationId xmlns:a16="http://schemas.microsoft.com/office/drawing/2014/main" id="{1E6F5D50-7A35-28DD-9F14-501A9F9812CA}"/>
              </a:ext>
            </a:extLst>
          </p:cNvPr>
          <p:cNvSpPr txBox="1"/>
          <p:nvPr/>
        </p:nvSpPr>
        <p:spPr>
          <a:xfrm>
            <a:off x="8076510" y="6174570"/>
            <a:ext cx="3886200" cy="369332"/>
          </a:xfrm>
          <a:prstGeom prst="rect">
            <a:avLst/>
          </a:prstGeom>
          <a:noFill/>
        </p:spPr>
        <p:txBody>
          <a:bodyPr wrap="square" rtlCol="0">
            <a:spAutoFit/>
          </a:bodyPr>
          <a:lstStyle/>
          <a:p>
            <a:pPr algn="r"/>
            <a:r>
              <a:rPr lang="en-US" dirty="0"/>
              <a:t>Source : Montel Analytics</a:t>
            </a:r>
            <a:endParaRPr lang="en-GB" dirty="0"/>
          </a:p>
        </p:txBody>
      </p:sp>
    </p:spTree>
    <p:extLst>
      <p:ext uri="{BB962C8B-B14F-4D97-AF65-F5344CB8AC3E}">
        <p14:creationId xmlns:p14="http://schemas.microsoft.com/office/powerpoint/2010/main" val="3752581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0C4E5A-662E-6269-A030-75C546D34281}"/>
              </a:ext>
            </a:extLst>
          </p:cNvPr>
          <p:cNvSpPr>
            <a:spLocks noGrp="1"/>
          </p:cNvSpPr>
          <p:nvPr>
            <p:ph type="body" sz="quarter" idx="10"/>
          </p:nvPr>
        </p:nvSpPr>
        <p:spPr/>
        <p:txBody>
          <a:bodyPr/>
          <a:lstStyle/>
          <a:p>
            <a:r>
              <a:rPr lang="en-US" dirty="0"/>
              <a:t>Offshore Wind Build Out</a:t>
            </a:r>
            <a:endParaRPr lang="en-GB" dirty="0"/>
          </a:p>
        </p:txBody>
      </p:sp>
      <p:sp>
        <p:nvSpPr>
          <p:cNvPr id="3" name="Text Placeholder 2">
            <a:extLst>
              <a:ext uri="{FF2B5EF4-FFF2-40B4-BE49-F238E27FC236}">
                <a16:creationId xmlns:a16="http://schemas.microsoft.com/office/drawing/2014/main" id="{1D44CC81-4A45-9A74-CCC8-E759D7FF6737}"/>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4633FC58-58F6-49C6-487E-B7E26EFDC8A1}"/>
              </a:ext>
            </a:extLst>
          </p:cNvPr>
          <p:cNvSpPr>
            <a:spLocks noGrp="1"/>
          </p:cNvSpPr>
          <p:nvPr>
            <p:ph type="body" sz="quarter" idx="16"/>
          </p:nvPr>
        </p:nvSpPr>
        <p:spPr/>
        <p:txBody>
          <a:bodyPr/>
          <a:lstStyle/>
          <a:p>
            <a:r>
              <a:rPr lang="en-GB" dirty="0"/>
              <a:t>Built and Pipeline is 97GW</a:t>
            </a:r>
          </a:p>
          <a:p>
            <a:r>
              <a:rPr lang="en-GB" dirty="0"/>
              <a:t>Currently 13GW operational</a:t>
            </a:r>
          </a:p>
          <a:p>
            <a:r>
              <a:rPr lang="en-GB" dirty="0"/>
              <a:t>8GW building</a:t>
            </a:r>
          </a:p>
          <a:p>
            <a:r>
              <a:rPr lang="en-GB" dirty="0"/>
              <a:t>More with </a:t>
            </a:r>
            <a:r>
              <a:rPr lang="en-GB" dirty="0" err="1"/>
              <a:t>CfD</a:t>
            </a:r>
            <a:r>
              <a:rPr lang="en-GB" dirty="0"/>
              <a:t> not building</a:t>
            </a:r>
          </a:p>
          <a:p>
            <a:r>
              <a:rPr lang="en-GB" dirty="0"/>
              <a:t>AR-5 Failed</a:t>
            </a:r>
          </a:p>
          <a:p>
            <a:r>
              <a:rPr lang="en-GB" dirty="0"/>
              <a:t>AR-6 3 to 5GW – Push Budget?</a:t>
            </a:r>
          </a:p>
          <a:p>
            <a:r>
              <a:rPr lang="en-GB" dirty="0"/>
              <a:t>AR-7?</a:t>
            </a:r>
          </a:p>
          <a:p>
            <a:endParaRPr lang="en-GB" dirty="0"/>
          </a:p>
        </p:txBody>
      </p:sp>
      <p:pic>
        <p:nvPicPr>
          <p:cNvPr id="6" name="Picture 5">
            <a:extLst>
              <a:ext uri="{FF2B5EF4-FFF2-40B4-BE49-F238E27FC236}">
                <a16:creationId xmlns:a16="http://schemas.microsoft.com/office/drawing/2014/main" id="{9CDC2783-B2CC-84B5-2D7B-533FC938C68C}"/>
              </a:ext>
            </a:extLst>
          </p:cNvPr>
          <p:cNvPicPr>
            <a:picLocks noChangeAspect="1"/>
          </p:cNvPicPr>
          <p:nvPr/>
        </p:nvPicPr>
        <p:blipFill>
          <a:blip r:embed="rId3"/>
          <a:stretch>
            <a:fillRect/>
          </a:stretch>
        </p:blipFill>
        <p:spPr>
          <a:xfrm>
            <a:off x="5200650" y="2345589"/>
            <a:ext cx="6327221" cy="3738813"/>
          </a:xfrm>
          <a:prstGeom prst="rect">
            <a:avLst/>
          </a:prstGeom>
        </p:spPr>
      </p:pic>
      <p:sp>
        <p:nvSpPr>
          <p:cNvPr id="7" name="TextBox 6">
            <a:extLst>
              <a:ext uri="{FF2B5EF4-FFF2-40B4-BE49-F238E27FC236}">
                <a16:creationId xmlns:a16="http://schemas.microsoft.com/office/drawing/2014/main" id="{02AEDDCD-BFA3-CD9C-8809-B396B6D2B7AF}"/>
              </a:ext>
            </a:extLst>
          </p:cNvPr>
          <p:cNvSpPr txBox="1"/>
          <p:nvPr/>
        </p:nvSpPr>
        <p:spPr>
          <a:xfrm>
            <a:off x="8076510" y="6174570"/>
            <a:ext cx="3886200" cy="369332"/>
          </a:xfrm>
          <a:prstGeom prst="rect">
            <a:avLst/>
          </a:prstGeom>
          <a:noFill/>
        </p:spPr>
        <p:txBody>
          <a:bodyPr wrap="square" rtlCol="0">
            <a:spAutoFit/>
          </a:bodyPr>
          <a:lstStyle/>
          <a:p>
            <a:pPr algn="r"/>
            <a:r>
              <a:rPr lang="en-US" dirty="0"/>
              <a:t>Source : Regen Analysis</a:t>
            </a:r>
            <a:endParaRPr lang="en-GB" dirty="0"/>
          </a:p>
        </p:txBody>
      </p:sp>
    </p:spTree>
    <p:extLst>
      <p:ext uri="{BB962C8B-B14F-4D97-AF65-F5344CB8AC3E}">
        <p14:creationId xmlns:p14="http://schemas.microsoft.com/office/powerpoint/2010/main" val="2288203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Wind Build Out</a:t>
            </a:r>
          </a:p>
          <a:p>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r>
              <a:rPr lang="en-GB" dirty="0"/>
              <a:t>Projects already in the queue</a:t>
            </a:r>
          </a:p>
          <a:p>
            <a:r>
              <a:rPr lang="en-GB" dirty="0"/>
              <a:t>Planning Reform - Done</a:t>
            </a:r>
          </a:p>
          <a:p>
            <a:r>
              <a:rPr lang="en-GB" dirty="0"/>
              <a:t>Unsubsidised?</a:t>
            </a:r>
          </a:p>
          <a:p>
            <a:pPr lvl="1"/>
            <a:endParaRPr lang="en-GB" dirty="0"/>
          </a:p>
        </p:txBody>
      </p:sp>
      <p:pic>
        <p:nvPicPr>
          <p:cNvPr id="5" name="Picture 2">
            <a:extLst>
              <a:ext uri="{FF2B5EF4-FFF2-40B4-BE49-F238E27FC236}">
                <a16:creationId xmlns:a16="http://schemas.microsoft.com/office/drawing/2014/main" id="{D22F7B51-EB57-FC12-D6F0-0F0124BF2A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3275" y="1442251"/>
            <a:ext cx="6831313" cy="450622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F4D4100-CD19-A74D-03AE-F6139E1ABD21}"/>
              </a:ext>
            </a:extLst>
          </p:cNvPr>
          <p:cNvSpPr txBox="1"/>
          <p:nvPr/>
        </p:nvSpPr>
        <p:spPr>
          <a:xfrm>
            <a:off x="8076510" y="6174570"/>
            <a:ext cx="3886200" cy="369332"/>
          </a:xfrm>
          <a:prstGeom prst="rect">
            <a:avLst/>
          </a:prstGeom>
          <a:noFill/>
        </p:spPr>
        <p:txBody>
          <a:bodyPr wrap="square" rtlCol="0">
            <a:spAutoFit/>
          </a:bodyPr>
          <a:lstStyle/>
          <a:p>
            <a:pPr algn="r"/>
            <a:r>
              <a:rPr lang="en-US" dirty="0"/>
              <a:t>Source : Regen Analysis</a:t>
            </a:r>
            <a:endParaRPr lang="en-GB" dirty="0"/>
          </a:p>
        </p:txBody>
      </p:sp>
    </p:spTree>
    <p:extLst>
      <p:ext uri="{BB962C8B-B14F-4D97-AF65-F5344CB8AC3E}">
        <p14:creationId xmlns:p14="http://schemas.microsoft.com/office/powerpoint/2010/main" val="4273894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59D596-6DA3-6CC8-11BF-ACDFC9FD78F1}"/>
              </a:ext>
            </a:extLst>
          </p:cNvPr>
          <p:cNvSpPr>
            <a:spLocks noGrp="1"/>
          </p:cNvSpPr>
          <p:nvPr>
            <p:ph type="body" sz="quarter" idx="10"/>
          </p:nvPr>
        </p:nvSpPr>
        <p:spPr/>
        <p:txBody>
          <a:bodyPr/>
          <a:lstStyle/>
          <a:p>
            <a:r>
              <a:rPr lang="en-US" dirty="0"/>
              <a:t>Barriers</a:t>
            </a:r>
          </a:p>
          <a:p>
            <a:endParaRPr lang="en-GB" dirty="0"/>
          </a:p>
        </p:txBody>
      </p:sp>
      <p:sp>
        <p:nvSpPr>
          <p:cNvPr id="3" name="Text Placeholder 2">
            <a:extLst>
              <a:ext uri="{FF2B5EF4-FFF2-40B4-BE49-F238E27FC236}">
                <a16:creationId xmlns:a16="http://schemas.microsoft.com/office/drawing/2014/main" id="{B37EEB6F-9B24-DF6C-50CE-ABEBF2C37518}"/>
              </a:ext>
            </a:extLst>
          </p:cNvPr>
          <p:cNvSpPr>
            <a:spLocks noGrp="1"/>
          </p:cNvSpPr>
          <p:nvPr>
            <p:ph type="body" sz="quarter" idx="11"/>
          </p:nvPr>
        </p:nvSpPr>
        <p:spPr/>
        <p:txBody>
          <a:bodyPr/>
          <a:lstStyle/>
          <a:p>
            <a:r>
              <a:rPr lang="en-US" dirty="0" err="1">
                <a:latin typeface="Haffer"/>
                <a:cs typeface="Haffer"/>
              </a:rPr>
              <a:t>Decarbonising</a:t>
            </a:r>
            <a:r>
              <a:rPr lang="en-US" dirty="0">
                <a:latin typeface="Haffer"/>
                <a:cs typeface="Haffer"/>
              </a:rPr>
              <a:t> the UK: Challenges and Options for the Incoming Government</a:t>
            </a:r>
            <a:endParaRPr lang="en-GB" dirty="0"/>
          </a:p>
        </p:txBody>
      </p:sp>
      <p:sp>
        <p:nvSpPr>
          <p:cNvPr id="4" name="Text Placeholder 3">
            <a:extLst>
              <a:ext uri="{FF2B5EF4-FFF2-40B4-BE49-F238E27FC236}">
                <a16:creationId xmlns:a16="http://schemas.microsoft.com/office/drawing/2014/main" id="{5C73505C-7550-F42E-F7DA-3BA9D49596EC}"/>
              </a:ext>
            </a:extLst>
          </p:cNvPr>
          <p:cNvSpPr>
            <a:spLocks noGrp="1"/>
          </p:cNvSpPr>
          <p:nvPr>
            <p:ph type="body" sz="quarter" idx="16"/>
          </p:nvPr>
        </p:nvSpPr>
        <p:spPr/>
        <p:txBody>
          <a:bodyPr/>
          <a:lstStyle/>
          <a:p>
            <a:r>
              <a:rPr lang="en-US" dirty="0"/>
              <a:t>Planning</a:t>
            </a:r>
          </a:p>
          <a:p>
            <a:r>
              <a:rPr lang="en-US" dirty="0"/>
              <a:t>Grid</a:t>
            </a:r>
          </a:p>
          <a:p>
            <a:r>
              <a:rPr lang="en-US" dirty="0"/>
              <a:t>Supply Chains</a:t>
            </a:r>
          </a:p>
          <a:p>
            <a:r>
              <a:rPr lang="en-US" dirty="0"/>
              <a:t>Stability</a:t>
            </a:r>
          </a:p>
          <a:p>
            <a:endParaRPr lang="en-US" dirty="0"/>
          </a:p>
        </p:txBody>
      </p:sp>
      <p:sp>
        <p:nvSpPr>
          <p:cNvPr id="5" name="TextBox 4">
            <a:extLst>
              <a:ext uri="{FF2B5EF4-FFF2-40B4-BE49-F238E27FC236}">
                <a16:creationId xmlns:a16="http://schemas.microsoft.com/office/drawing/2014/main" id="{B151E06B-DD9B-C8B0-87DE-68D31F90C6C5}"/>
              </a:ext>
            </a:extLst>
          </p:cNvPr>
          <p:cNvSpPr txBox="1"/>
          <p:nvPr/>
        </p:nvSpPr>
        <p:spPr>
          <a:xfrm>
            <a:off x="8076510" y="6174570"/>
            <a:ext cx="3886200" cy="369332"/>
          </a:xfrm>
          <a:prstGeom prst="rect">
            <a:avLst/>
          </a:prstGeom>
          <a:noFill/>
        </p:spPr>
        <p:txBody>
          <a:bodyPr wrap="square" rtlCol="0">
            <a:spAutoFit/>
          </a:bodyPr>
          <a:lstStyle/>
          <a:p>
            <a:pPr algn="r"/>
            <a:r>
              <a:rPr lang="en-US" dirty="0"/>
              <a:t>Source : Montel Analytics</a:t>
            </a:r>
            <a:endParaRPr lang="en-GB" dirty="0"/>
          </a:p>
        </p:txBody>
      </p:sp>
      <p:pic>
        <p:nvPicPr>
          <p:cNvPr id="7" name="Picture 6">
            <a:extLst>
              <a:ext uri="{FF2B5EF4-FFF2-40B4-BE49-F238E27FC236}">
                <a16:creationId xmlns:a16="http://schemas.microsoft.com/office/drawing/2014/main" id="{3B501532-AD94-212C-52D9-40CE6F060E19}"/>
              </a:ext>
            </a:extLst>
          </p:cNvPr>
          <p:cNvPicPr>
            <a:picLocks noChangeAspect="1"/>
          </p:cNvPicPr>
          <p:nvPr/>
        </p:nvPicPr>
        <p:blipFill>
          <a:blip r:embed="rId3"/>
          <a:stretch>
            <a:fillRect/>
          </a:stretch>
        </p:blipFill>
        <p:spPr>
          <a:xfrm>
            <a:off x="3583458" y="1118315"/>
            <a:ext cx="8274935" cy="4936047"/>
          </a:xfrm>
          <a:prstGeom prst="rect">
            <a:avLst/>
          </a:prstGeom>
        </p:spPr>
      </p:pic>
    </p:spTree>
    <p:extLst>
      <p:ext uri="{BB962C8B-B14F-4D97-AF65-F5344CB8AC3E}">
        <p14:creationId xmlns:p14="http://schemas.microsoft.com/office/powerpoint/2010/main" val="4018937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7BA14B6A-80AE-2043-84D6-82AB6124F1E9}"/>
    </a:ext>
  </a:extLst>
</a:theme>
</file>

<file path=ppt/theme/theme10.xml><?xml version="1.0" encoding="utf-8"?>
<a:theme xmlns:a="http://schemas.openxmlformats.org/drawingml/2006/main" name="Montel Analysi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F4F6AB06-6200-E340-9477-ACE069AD1EA5}"/>
    </a:ext>
  </a:extLst>
</a:theme>
</file>

<file path=ppt/theme/theme11.xml><?xml version="1.0" encoding="utf-8"?>
<a:theme xmlns:a="http://schemas.openxmlformats.org/drawingml/2006/main" name="Montel Market data">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588E4077-6645-374D-B716-B6F34E2C4A49}"/>
    </a:ext>
  </a:extLst>
</a:theme>
</file>

<file path=ppt/theme/theme12.xml><?xml version="1.0" encoding="utf-8"?>
<a:theme xmlns:a="http://schemas.openxmlformats.org/drawingml/2006/main" name="Montel Publication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DC471F47-2A32-604D-8049-F9CB22681A59}"/>
    </a:ext>
  </a:extLst>
</a:theme>
</file>

<file path=ppt/theme/theme13.xml><?xml version="1.0" encoding="utf-8"?>
<a:theme xmlns:a="http://schemas.openxmlformats.org/drawingml/2006/main" name="Montel Marketplace">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69CE7AA8-A831-B64F-ADC2-385983E5E5E1}"/>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ntel Content">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8B7AF00A-1D25-E54A-96D3-83B143C42A9F}"/>
    </a:ext>
  </a:extLst>
</a:theme>
</file>

<file path=ppt/theme/theme3.xml><?xml version="1.0" encoding="utf-8"?>
<a:theme xmlns:a="http://schemas.openxmlformats.org/drawingml/2006/main" name="Graphics">
  <a:themeElements>
    <a:clrScheme name="Montel - Green shades">
      <a:dk1>
        <a:srgbClr val="000000"/>
      </a:dk1>
      <a:lt1>
        <a:srgbClr val="FFFFFF"/>
      </a:lt1>
      <a:dk2>
        <a:srgbClr val="022E33"/>
      </a:dk2>
      <a:lt2>
        <a:srgbClr val="E6EAEB"/>
      </a:lt2>
      <a:accent1>
        <a:srgbClr val="10796F"/>
      </a:accent1>
      <a:accent2>
        <a:srgbClr val="B5EBE3"/>
      </a:accent2>
      <a:accent3>
        <a:srgbClr val="102C32"/>
      </a:accent3>
      <a:accent4>
        <a:srgbClr val="E6EAEB"/>
      </a:accent4>
      <a:accent5>
        <a:srgbClr val="10796F"/>
      </a:accent5>
      <a:accent6>
        <a:srgbClr val="B5EBE3"/>
      </a:accent6>
      <a:hlink>
        <a:srgbClr val="10796F"/>
      </a:hlink>
      <a:folHlink>
        <a:srgbClr val="E6EA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2E53DB96-D755-5944-9390-1CF4AC33DF49}"/>
    </a:ext>
  </a:extLst>
</a:theme>
</file>

<file path=ppt/theme/theme4.xml><?xml version="1.0" encoding="utf-8"?>
<a:theme xmlns:a="http://schemas.openxmlformats.org/drawingml/2006/main" name="Montel content - Dark Background">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CECABF55-1E89-3D4E-A28C-144D37C038C8}"/>
    </a:ext>
  </a:extLst>
</a:theme>
</file>

<file path=ppt/theme/theme5.xml><?xml version="1.0" encoding="utf-8"?>
<a:theme xmlns:a="http://schemas.openxmlformats.org/drawingml/2006/main" name="Montel New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17E89FE8-0B35-184C-BF32-B8EE8680FCC0}"/>
    </a:ext>
  </a:extLst>
</a:theme>
</file>

<file path=ppt/theme/theme6.xml><?xml version="1.0" encoding="utf-8"?>
<a:theme xmlns:a="http://schemas.openxmlformats.org/drawingml/2006/main" name="Montel Advisory">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A9AC2975-A0BD-4840-9520-F65D670BC938}"/>
    </a:ext>
  </a:extLst>
</a:theme>
</file>

<file path=ppt/theme/theme7.xml><?xml version="1.0" encoding="utf-8"?>
<a:theme xmlns:a="http://schemas.openxmlformats.org/drawingml/2006/main" name="Montel Marketing service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54510A7C-8F2A-4E48-801A-D9936E9E1EC7}"/>
    </a:ext>
  </a:extLst>
</a:theme>
</file>

<file path=ppt/theme/theme8.xml><?xml version="1.0" encoding="utf-8"?>
<a:theme xmlns:a="http://schemas.openxmlformats.org/drawingml/2006/main" name="Montel Risk management">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1EAD2CD1-5B58-0143-B129-EE5E32E28E11}"/>
    </a:ext>
  </a:extLst>
</a:theme>
</file>

<file path=ppt/theme/theme9.xml><?xml version="1.0" encoding="utf-8"?>
<a:theme xmlns:a="http://schemas.openxmlformats.org/drawingml/2006/main" name="Montel Event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D0479056-55FE-B348-828C-1CAEFBF4A71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cd1245a-019b-4303-9dcd-8dfba0a484eb">
      <Terms xmlns="http://schemas.microsoft.com/office/infopath/2007/PartnerControls"/>
    </lcf76f155ced4ddcb4097134ff3c332f>
    <TaxCatchAll xmlns="29aac3b8-6948-4ca9-8e77-0588067165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1A2587DA9891C4F9B7E62A80B509FEA" ma:contentTypeVersion="13" ma:contentTypeDescription="Create a new document." ma:contentTypeScope="" ma:versionID="7d85d76248d256b50a7dc13d87e64d6d">
  <xsd:schema xmlns:xsd="http://www.w3.org/2001/XMLSchema" xmlns:xs="http://www.w3.org/2001/XMLSchema" xmlns:p="http://schemas.microsoft.com/office/2006/metadata/properties" xmlns:ns2="ecd1245a-019b-4303-9dcd-8dfba0a484eb" xmlns:ns3="29aac3b8-6948-4ca9-8e77-0588067165a1" targetNamespace="http://schemas.microsoft.com/office/2006/metadata/properties" ma:root="true" ma:fieldsID="7200afab33c06d7068e1a9e950b2a1f1" ns2:_="" ns3:_="">
    <xsd:import namespace="ecd1245a-019b-4303-9dcd-8dfba0a484eb"/>
    <xsd:import namespace="29aac3b8-6948-4ca9-8e77-0588067165a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1245a-019b-4303-9dcd-8dfba0a484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8bc7ffa-3213-4f12-8306-c357232cb2b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aac3b8-6948-4ca9-8e77-0588067165a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b5e7221-de76-4f9b-8d24-8314c26f0e46}" ma:internalName="TaxCatchAll" ma:showField="CatchAllData" ma:web="29aac3b8-6948-4ca9-8e77-0588067165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7D6E4-B0D0-4F8B-93C6-D1D383D24E81}">
  <ds:schemaRefs>
    <ds:schemaRef ds:uri="http://schemas.microsoft.com/office/infopath/2007/PartnerControls"/>
    <ds:schemaRef ds:uri="http://purl.org/dc/dcmitype/"/>
    <ds:schemaRef ds:uri="http://schemas.microsoft.com/office/2006/documentManagement/types"/>
    <ds:schemaRef ds:uri="http://purl.org/dc/elements/1.1/"/>
    <ds:schemaRef ds:uri="ecd1245a-019b-4303-9dcd-8dfba0a484eb"/>
    <ds:schemaRef ds:uri="29aac3b8-6948-4ca9-8e77-0588067165a1"/>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2B645D2-AA6E-481B-B73E-94C8C2D12088}">
  <ds:schemaRefs>
    <ds:schemaRef ds:uri="http://schemas.microsoft.com/sharepoint/v3/contenttype/forms"/>
  </ds:schemaRefs>
</ds:datastoreItem>
</file>

<file path=customXml/itemProps3.xml><?xml version="1.0" encoding="utf-8"?>
<ds:datastoreItem xmlns:ds="http://schemas.openxmlformats.org/officeDocument/2006/customXml" ds:itemID="{89B61FBD-FB8E-4509-BC2D-02F26DF50F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1245a-019b-4303-9dcd-8dfba0a484eb"/>
    <ds:schemaRef ds:uri="29aac3b8-6948-4ca9-8e77-0588067165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931</Words>
  <Application>Microsoft Office PowerPoint</Application>
  <PresentationFormat>Widescreen</PresentationFormat>
  <Paragraphs>74</Paragraphs>
  <Slides>8</Slides>
  <Notes>7</Notes>
  <HiddenSlides>0</HiddenSlides>
  <MMClips>0</MMClips>
  <ScaleCrop>false</ScaleCrop>
  <HeadingPairs>
    <vt:vector size="8" baseType="variant">
      <vt:variant>
        <vt:lpstr>Fonts Used</vt:lpstr>
      </vt:variant>
      <vt:variant>
        <vt:i4>5</vt:i4>
      </vt:variant>
      <vt:variant>
        <vt:lpstr>Theme</vt:lpstr>
      </vt:variant>
      <vt:variant>
        <vt:i4>13</vt:i4>
      </vt:variant>
      <vt:variant>
        <vt:lpstr>Embedded OLE Servers</vt:lpstr>
      </vt:variant>
      <vt:variant>
        <vt:i4>1</vt:i4>
      </vt:variant>
      <vt:variant>
        <vt:lpstr>Slide Titles</vt:lpstr>
      </vt:variant>
      <vt:variant>
        <vt:i4>8</vt:i4>
      </vt:variant>
    </vt:vector>
  </HeadingPairs>
  <TitlesOfParts>
    <vt:vector size="27" baseType="lpstr">
      <vt:lpstr>Arial</vt:lpstr>
      <vt:lpstr>Calibri</vt:lpstr>
      <vt:lpstr>Haffer Light</vt:lpstr>
      <vt:lpstr>Haffer</vt:lpstr>
      <vt:lpstr>Calibri Light</vt:lpstr>
      <vt:lpstr>Covers</vt:lpstr>
      <vt:lpstr>Montel Content</vt:lpstr>
      <vt:lpstr>Graphics</vt:lpstr>
      <vt:lpstr>Montel content - Dark Background</vt:lpstr>
      <vt:lpstr>Montel News</vt:lpstr>
      <vt:lpstr>Montel Advisory</vt:lpstr>
      <vt:lpstr>Montel Marketing services</vt:lpstr>
      <vt:lpstr>Montel Risk management</vt:lpstr>
      <vt:lpstr>Montel Events</vt:lpstr>
      <vt:lpstr>Montel Analysis</vt:lpstr>
      <vt:lpstr>Montel Market data</vt:lpstr>
      <vt:lpstr>Montel Publications</vt:lpstr>
      <vt:lpstr>Montel Marketpla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avsa</dc:title>
  <dc:creator>Mari Tollefsen Schia</dc:creator>
  <cp:lastModifiedBy>Phil Hewitt</cp:lastModifiedBy>
  <cp:revision>409</cp:revision>
  <dcterms:created xsi:type="dcterms:W3CDTF">2022-11-17T18:59:36Z</dcterms:created>
  <dcterms:modified xsi:type="dcterms:W3CDTF">2024-07-18T10: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A2587DA9891C4F9B7E62A80B509FEA</vt:lpwstr>
  </property>
  <property fmtid="{D5CDD505-2E9C-101B-9397-08002B2CF9AE}" pid="3" name="MediaServiceImageTags">
    <vt:lpwstr/>
  </property>
</Properties>
</file>